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890" r:id="rId4"/>
    <p:sldMasterId id="2147483925" r:id="rId5"/>
  </p:sldMasterIdLst>
  <p:notesMasterIdLst>
    <p:notesMasterId r:id="rId8"/>
  </p:notesMasterIdLst>
  <p:handoutMasterIdLst>
    <p:handoutMasterId r:id="rId9"/>
  </p:handoutMasterIdLst>
  <p:sldIdLst>
    <p:sldId id="554" r:id="rId6"/>
    <p:sldId id="555" r:id="rId7"/>
  </p:sldIdLst>
  <p:sldSz cx="9906000" cy="6858000" type="A4"/>
  <p:notesSz cx="6807200" cy="9939338"/>
  <p:custDataLst>
    <p:tags r:id="rId1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504">
          <p15:clr>
            <a:srgbClr val="A4A3A4"/>
          </p15:clr>
        </p15:guide>
        <p15:guide id="2" orient="horz" pos="96">
          <p15:clr>
            <a:srgbClr val="A4A3A4"/>
          </p15:clr>
        </p15:guide>
        <p15:guide id="3" orient="horz" pos="572" userDrawn="1">
          <p15:clr>
            <a:srgbClr val="A4A3A4"/>
          </p15:clr>
        </p15:guide>
        <p15:guide id="4" orient="horz" pos="4269">
          <p15:clr>
            <a:srgbClr val="A4A3A4"/>
          </p15:clr>
        </p15:guide>
        <p15:guide id="5" orient="horz" pos="3974">
          <p15:clr>
            <a:srgbClr val="A4A3A4"/>
          </p15:clr>
        </p15:guide>
        <p15:guide id="6" orient="horz" pos="4156">
          <p15:clr>
            <a:srgbClr val="A4A3A4"/>
          </p15:clr>
        </p15:guide>
        <p15:guide id="7" orient="horz" pos="981" userDrawn="1">
          <p15:clr>
            <a:srgbClr val="A4A3A4"/>
          </p15:clr>
        </p15:guide>
        <p15:guide id="8" pos="3120">
          <p15:clr>
            <a:srgbClr val="A4A3A4"/>
          </p15:clr>
        </p15:guide>
        <p15:guide id="9" pos="262">
          <p15:clr>
            <a:srgbClr val="A4A3A4"/>
          </p15:clr>
        </p15:guide>
        <p15:guide id="10" pos="2984" userDrawn="1">
          <p15:clr>
            <a:srgbClr val="A4A3A4"/>
          </p15:clr>
        </p15:guide>
        <p15:guide id="11" pos="3256" userDrawn="1">
          <p15:clr>
            <a:srgbClr val="A4A3A4"/>
          </p15:clr>
        </p15:guide>
        <p15:guide id="12" pos="597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 userDrawn="1">
          <p15:clr>
            <a:srgbClr val="A4A3A4"/>
          </p15:clr>
        </p15:guide>
        <p15:guide id="2" pos="2143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C8C8C"/>
    <a:srgbClr val="313131"/>
    <a:srgbClr val="B4B4B4"/>
    <a:srgbClr val="DCDCDC"/>
    <a:srgbClr val="575757"/>
    <a:srgbClr val="002776"/>
    <a:srgbClr val="81BC00"/>
    <a:srgbClr val="00A1DE"/>
    <a:srgbClr val="3C8A2E"/>
    <a:srgbClr val="72C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491" autoAdjust="0"/>
  </p:normalViewPr>
  <p:slideViewPr>
    <p:cSldViewPr snapToObjects="1" showGuides="1">
      <p:cViewPr varScale="1">
        <p:scale>
          <a:sx n="96" d="100"/>
          <a:sy n="96" d="100"/>
        </p:scale>
        <p:origin x="203" y="74"/>
      </p:cViewPr>
      <p:guideLst>
        <p:guide orient="horz" pos="504"/>
        <p:guide orient="horz" pos="96"/>
        <p:guide orient="horz" pos="572"/>
        <p:guide orient="horz" pos="4269"/>
        <p:guide orient="horz" pos="3974"/>
        <p:guide orient="horz" pos="4156"/>
        <p:guide orient="horz" pos="981"/>
        <p:guide pos="3120"/>
        <p:guide pos="262"/>
        <p:guide pos="2984"/>
        <p:guide pos="3256"/>
        <p:guide pos="5978"/>
      </p:guideLst>
    </p:cSldViewPr>
  </p:slideViewPr>
  <p:outlineViewPr>
    <p:cViewPr>
      <p:scale>
        <a:sx n="33" d="100"/>
        <a:sy n="33" d="100"/>
      </p:scale>
      <p:origin x="0" y="-4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Objects="1" showGuides="1">
      <p:cViewPr varScale="1">
        <p:scale>
          <a:sx n="93" d="100"/>
          <a:sy n="93" d="100"/>
        </p:scale>
        <p:origin x="3744" y="102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52" tIns="31377" rIns="62752" bIns="31377" numCol="1" anchor="t" anchorCtr="0" compatLnSpc="1">
            <a:prstTxWarp prst="textNoShape">
              <a:avLst/>
            </a:prstTxWarp>
          </a:bodyPr>
          <a:lstStyle>
            <a:lvl1pPr defTabSz="628098">
              <a:defRPr sz="8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6474" y="0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52" tIns="31377" rIns="62752" bIns="31377" numCol="1" anchor="t" anchorCtr="0" compatLnSpc="1">
            <a:prstTxWarp prst="textNoShape">
              <a:avLst/>
            </a:prstTxWarp>
          </a:bodyPr>
          <a:lstStyle>
            <a:lvl1pPr algn="r" defTabSz="628098">
              <a:defRPr sz="800"/>
            </a:lvl1pPr>
          </a:lstStyle>
          <a:p>
            <a:fld id="{39D7E852-17AA-4CB6-8273-0685DB7F9B51}" type="datetimeFigureOut">
              <a:rPr lang="en-US"/>
              <a:pPr/>
              <a:t>3/1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40799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52" tIns="31377" rIns="62752" bIns="31377" numCol="1" anchor="b" anchorCtr="0" compatLnSpc="1">
            <a:prstTxWarp prst="textNoShape">
              <a:avLst/>
            </a:prstTxWarp>
          </a:bodyPr>
          <a:lstStyle>
            <a:lvl1pPr defTabSz="628098">
              <a:defRPr sz="8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6474" y="9440799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52" tIns="31377" rIns="62752" bIns="31377" numCol="1" anchor="b" anchorCtr="0" compatLnSpc="1">
            <a:prstTxWarp prst="textNoShape">
              <a:avLst/>
            </a:prstTxWarp>
          </a:bodyPr>
          <a:lstStyle>
            <a:lvl1pPr algn="r" defTabSz="628098">
              <a:defRPr sz="800"/>
            </a:lvl1pPr>
          </a:lstStyle>
          <a:p>
            <a:fld id="{61B1335B-9C73-459E-8F94-9ADB241FD5F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67587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2" tIns="47837" rIns="95672" bIns="47837" numCol="1" anchor="t" anchorCtr="0" compatLnSpc="1">
            <a:prstTxWarp prst="textNoShape">
              <a:avLst/>
            </a:prstTxWarp>
          </a:bodyPr>
          <a:lstStyle>
            <a:lvl1pPr defTabSz="628098">
              <a:defRPr sz="1200">
                <a:latin typeface="Calibri" pitchFamily="34" charset="0"/>
              </a:defRPr>
            </a:lvl1pPr>
          </a:lstStyle>
          <a:p>
            <a:endParaRPr lang="en-GB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6474" y="0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2" tIns="47837" rIns="95672" bIns="47837" numCol="1" anchor="t" anchorCtr="0" compatLnSpc="1">
            <a:prstTxWarp prst="textNoShape">
              <a:avLst/>
            </a:prstTxWarp>
          </a:bodyPr>
          <a:lstStyle>
            <a:lvl1pPr algn="r" defTabSz="628098">
              <a:defRPr sz="1200">
                <a:latin typeface="Calibri" pitchFamily="34" charset="0"/>
              </a:defRPr>
            </a:lvl1pPr>
          </a:lstStyle>
          <a:p>
            <a:fld id="{B76C7504-6E39-4454-ABF9-7D8634367105}" type="datetimeFigureOut">
              <a:rPr lang="en-US">
                <a:latin typeface="Arial"/>
              </a:rPr>
              <a:pPr/>
              <a:t>3/1/2019</a:t>
            </a:fld>
            <a:endParaRPr lang="en-GB">
              <a:latin typeface="Arial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86388" cy="3729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7876" tIns="68939" rIns="137876" bIns="68939" rtlCol="0" anchor="ctr"/>
          <a:lstStyle/>
          <a:p>
            <a:pPr lvl="0"/>
            <a:endParaRPr lang="en-GB" noProof="0">
              <a:latin typeface="Arial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0094" y="4721187"/>
            <a:ext cx="5447014" cy="4472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2" tIns="47837" rIns="95672" bIns="4783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0"/>
            <a:r>
              <a:rPr lang="en-US" noProof="0" smtClean="0"/>
              <a:t>Second level</a:t>
            </a:r>
          </a:p>
          <a:p>
            <a:pPr lvl="0"/>
            <a:r>
              <a:rPr lang="en-US" noProof="0" smtClean="0"/>
              <a:t>Third level</a:t>
            </a:r>
          </a:p>
          <a:p>
            <a:pPr lvl="0"/>
            <a:r>
              <a:rPr lang="en-US" noProof="0" smtClean="0"/>
              <a:t>Fourth level</a:t>
            </a:r>
          </a:p>
          <a:p>
            <a:pPr lvl="0"/>
            <a:r>
              <a:rPr lang="en-US" noProof="0" smtClean="0"/>
              <a:t>Fifth level</a:t>
            </a:r>
            <a:endParaRPr lang="en-GB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40799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2" tIns="47837" rIns="95672" bIns="47837" numCol="1" anchor="b" anchorCtr="0" compatLnSpc="1">
            <a:prstTxWarp prst="textNoShape">
              <a:avLst/>
            </a:prstTxWarp>
          </a:bodyPr>
          <a:lstStyle>
            <a:lvl1pPr defTabSz="628098">
              <a:defRPr sz="1200">
                <a:latin typeface="Calibri" pitchFamily="34" charset="0"/>
              </a:defRPr>
            </a:lvl1pPr>
          </a:lstStyle>
          <a:p>
            <a:endParaRPr lang="en-GB"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6474" y="9440799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2" tIns="47837" rIns="95672" bIns="47837" numCol="1" anchor="b" anchorCtr="0" compatLnSpc="1">
            <a:prstTxWarp prst="textNoShape">
              <a:avLst/>
            </a:prstTxWarp>
          </a:bodyPr>
          <a:lstStyle>
            <a:lvl1pPr algn="r" defTabSz="628098">
              <a:defRPr sz="1200">
                <a:latin typeface="Calibri" pitchFamily="34" charset="0"/>
              </a:defRPr>
            </a:lvl1pPr>
          </a:lstStyle>
          <a:p>
            <a:fld id="{DFA6DC0F-00C0-48CB-BFD3-E923E37ECD77}" type="slidenum">
              <a:rPr lang="en-GB">
                <a:latin typeface="Arial"/>
              </a:rPr>
              <a:pPr/>
              <a:t>‹#›</a:t>
            </a:fld>
            <a:endParaRPr lang="en-GB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601063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/>
        <a:ea typeface="+mn-ea"/>
        <a:cs typeface="+mn-cs"/>
        <a:sym typeface="Arial"/>
      </a:defRPr>
    </a:lvl1pPr>
    <a:lvl2pPr marL="698373" indent="-268605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074420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504188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933956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148840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78608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08376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38144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表紙)20160408_クライアント資料用／配布資料テンプレート／ヨ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6826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STSHP_0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26" y="2581202"/>
            <a:ext cx="4680000" cy="565200"/>
          </a:xfrm>
          <a:ln algn="ctr">
            <a:noFill/>
          </a:ln>
        </p:spPr>
        <p:txBody>
          <a:bodyPr wrap="none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800">
                <a:solidFill>
                  <a:schemeClr val="accent1"/>
                </a:solidFill>
                <a:latin typeface="+mj-lt"/>
                <a:ea typeface="+mn-ea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ja-JP" altLang="en-US" dirty="0" smtClean="0"/>
              <a:t>表紙タイトル：</a:t>
            </a:r>
            <a:r>
              <a:rPr lang="en-US" altLang="ja-JP" dirty="0" smtClean="0"/>
              <a:t>MSP</a:t>
            </a:r>
            <a:r>
              <a:rPr lang="ja-JP" altLang="en-US" dirty="0" smtClean="0"/>
              <a:t>ゴシック</a:t>
            </a:r>
            <a:r>
              <a:rPr lang="en-US" altLang="ja-JP" dirty="0" smtClean="0"/>
              <a:t>_28pt(</a:t>
            </a:r>
            <a:r>
              <a:rPr lang="ja-JP" altLang="en-US" dirty="0" smtClean="0"/>
              <a:t>太字</a:t>
            </a:r>
            <a:r>
              <a:rPr lang="en-US" altLang="ja-JP" dirty="0" smtClean="0"/>
              <a:t>)</a:t>
            </a:r>
            <a:r>
              <a:rPr lang="ja-JP" altLang="en-US" dirty="0" smtClean="0"/>
              <a:t> </a:t>
            </a:r>
            <a:r>
              <a:rPr lang="en-US" altLang="ja-JP" dirty="0" smtClean="0"/>
              <a:t>2</a:t>
            </a:r>
            <a:r>
              <a:rPr lang="ja-JP" altLang="en-US" dirty="0" smtClean="0"/>
              <a:t>列まで</a:t>
            </a:r>
            <a:endParaRPr lang="en-US" altLang="ja-JP" dirty="0" smtClean="0"/>
          </a:p>
        </p:txBody>
      </p:sp>
      <p:sp>
        <p:nvSpPr>
          <p:cNvPr id="9" name="MSTSHP_04"/>
          <p:cNvSpPr>
            <a:spLocks noGrp="1" noChangeArrowheads="1"/>
          </p:cNvSpPr>
          <p:nvPr>
            <p:ph type="subTitle" sz="quarter" idx="1" hasCustomPrompt="1"/>
          </p:nvPr>
        </p:nvSpPr>
        <p:spPr bwMode="gray">
          <a:xfrm>
            <a:off x="966525" y="3402002"/>
            <a:ext cx="4680000" cy="439737"/>
          </a:xfrm>
          <a:prstGeom prst="rect">
            <a:avLst/>
          </a:prstGeom>
          <a:ln>
            <a:noFill/>
          </a:ln>
        </p:spPr>
        <p:txBody>
          <a:bodyPr wrap="none"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ClrTx/>
              <a:defRPr sz="2000" b="1">
                <a:solidFill>
                  <a:schemeClr val="accent2"/>
                </a:solidFill>
                <a:latin typeface="+mj-lt"/>
                <a:ea typeface="+mn-ea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ja-JP" altLang="en-US" dirty="0" smtClean="0"/>
              <a:t>表紙サブタイトル：</a:t>
            </a:r>
            <a:r>
              <a:rPr lang="en-US" altLang="ja-JP" dirty="0" smtClean="0"/>
              <a:t>MSP</a:t>
            </a:r>
            <a:r>
              <a:rPr lang="ja-JP" altLang="en-US" dirty="0" smtClean="0"/>
              <a:t>ゴシック</a:t>
            </a:r>
            <a:r>
              <a:rPr lang="en-US" altLang="ja-JP" dirty="0" smtClean="0"/>
              <a:t>_20pt(</a:t>
            </a:r>
            <a:r>
              <a:rPr lang="ja-JP" altLang="en-US" dirty="0" smtClean="0"/>
              <a:t>太字</a:t>
            </a:r>
            <a:r>
              <a:rPr lang="en-US" altLang="ja-JP" dirty="0" smtClean="0"/>
              <a:t>)2</a:t>
            </a:r>
            <a:r>
              <a:rPr lang="ja-JP" altLang="en-US" dirty="0" smtClean="0"/>
              <a:t>列まで</a:t>
            </a:r>
            <a:endParaRPr lang="ja-JP" altLang="en-US" dirty="0"/>
          </a:p>
        </p:txBody>
      </p:sp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sp>
        <p:nvSpPr>
          <p:cNvPr id="5" name="コンテンツ プレースホルダー 4"/>
          <p:cNvSpPr>
            <a:spLocks noGrp="1"/>
          </p:cNvSpPr>
          <p:nvPr>
            <p:ph sz="quarter" idx="10" hasCustomPrompt="1"/>
          </p:nvPr>
        </p:nvSpPr>
        <p:spPr>
          <a:xfrm>
            <a:off x="966525" y="5086449"/>
            <a:ext cx="2078037" cy="358775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342880" marR="0" indent="-342880" algn="l" defTabSz="914349" rtl="0" eaLnBrk="1" fontAlgn="auto" latinLnBrk="0" hangingPunct="1">
              <a:lnSpc>
                <a:spcPct val="106000"/>
              </a:lnSpc>
              <a:spcBef>
                <a:spcPts val="86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pPr marL="342880" marR="0" lvl="0" indent="-342880" algn="l" defTabSz="914349" rtl="0" eaLnBrk="1" fontAlgn="auto" latinLnBrk="0" hangingPunct="1">
              <a:lnSpc>
                <a:spcPct val="106000"/>
              </a:lnSpc>
              <a:spcBef>
                <a:spcPts val="86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mtClean="0"/>
              <a:t>ver2016XXXX</a:t>
            </a:r>
            <a:endParaRPr kumimoji="1" lang="ja-JP" altLang="en-US" dirty="0" smtClean="0"/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gray">
          <a:xfrm>
            <a:off x="966523" y="4725194"/>
            <a:ext cx="2771593" cy="265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108000"/>
              </a:lnSpc>
              <a:spcBef>
                <a:spcPct val="10000"/>
              </a:spcBef>
              <a:buSzPct val="80000"/>
            </a:pPr>
            <a:r>
              <a:rPr kumimoji="1" lang="ja-JP" altLang="en-US" sz="1600" dirty="0">
                <a:solidFill>
                  <a:srgbClr val="000000"/>
                </a:solidFill>
                <a:latin typeface="Arial" pitchFamily="34" charset="0"/>
                <a:ea typeface="ＭＳ Ｐゴシック" pitchFamily="50" charset="-128"/>
              </a:rPr>
              <a:t>トーマツ イノベーション株式会社</a:t>
            </a:r>
          </a:p>
        </p:txBody>
      </p:sp>
    </p:spTree>
    <p:extLst>
      <p:ext uri="{BB962C8B-B14F-4D97-AF65-F5344CB8AC3E}">
        <p14:creationId xmlns:p14="http://schemas.microsoft.com/office/powerpoint/2010/main" val="901621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白紙)20160408_クライアント資料用／配布資料テンプレート／ヨ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75504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0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75398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裏表紙)20160408_クライアント資料用／配布資料テンプレート／ヨ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4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Box 2"/>
          <p:cNvSpPr txBox="1">
            <a:spLocks noChangeArrowheads="1"/>
          </p:cNvSpPr>
          <p:nvPr userDrawn="1"/>
        </p:nvSpPr>
        <p:spPr bwMode="gray">
          <a:xfrm>
            <a:off x="409576" y="3797300"/>
            <a:ext cx="6283324" cy="2976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>
              <a:lnSpc>
                <a:spcPct val="110000"/>
              </a:lnSpc>
            </a:pPr>
            <a:r>
              <a:rPr lang="ja-JP" altLang="en-US" sz="800" dirty="0">
                <a:solidFill>
                  <a:schemeClr val="tx2"/>
                </a:solidFill>
              </a:rPr>
              <a:t>デロイト トーマツ グループは日本におけるデロイト トウシュ トーマツ リミテッド（英国の法令に基づく保証有限責任会社）のメンバーファームおよびそのグループ法人</a:t>
            </a:r>
            <a:r>
              <a:rPr lang="ja-JP" altLang="en-US" sz="800" dirty="0" smtClean="0">
                <a:solidFill>
                  <a:schemeClr val="tx2"/>
                </a:solidFill>
              </a:rPr>
              <a:t>（有限責任監査法人 トーマツ、</a:t>
            </a:r>
            <a:r>
              <a:rPr lang="ja-JP" altLang="en-US" sz="800" dirty="0">
                <a:solidFill>
                  <a:schemeClr val="tx2"/>
                </a:solidFill>
              </a:rPr>
              <a:t>デロイト トーマツ コンサルティング合同会社、デロイト トーマツ ファイナンシャルアドバイザリー合同会社、デロイト トーマツ税理士法人および</a:t>
            </a:r>
            <a:r>
              <a:rPr lang="en-US" altLang="ja-JP" sz="800" dirty="0">
                <a:solidFill>
                  <a:schemeClr val="tx2"/>
                </a:solidFill>
              </a:rPr>
              <a:t>DT</a:t>
            </a:r>
            <a:r>
              <a:rPr lang="ja-JP" altLang="en-US" sz="800" dirty="0">
                <a:solidFill>
                  <a:schemeClr val="tx2"/>
                </a:solidFill>
              </a:rPr>
              <a:t>弁護士法人を含む）の総称です。デロイト トーマツ グループは日本で最大級のビジネスプロフェッショナルグループのひとつであり、各法人がそれぞれの適用法令に従い、監査、税務、法務、コンサルティング、ファイナンシャルアドバイザリー等を提供しています。また、国内約</a:t>
            </a:r>
            <a:r>
              <a:rPr lang="en-US" altLang="ja-JP" sz="800" dirty="0">
                <a:solidFill>
                  <a:schemeClr val="tx2"/>
                </a:solidFill>
              </a:rPr>
              <a:t>40</a:t>
            </a:r>
            <a:r>
              <a:rPr lang="ja-JP" altLang="en-US" sz="800" dirty="0">
                <a:solidFill>
                  <a:schemeClr val="tx2"/>
                </a:solidFill>
              </a:rPr>
              <a:t>都市に</a:t>
            </a:r>
            <a:r>
              <a:rPr lang="ja-JP" altLang="en-US" sz="800" dirty="0" smtClean="0">
                <a:solidFill>
                  <a:schemeClr val="tx2"/>
                </a:solidFill>
              </a:rPr>
              <a:t>約</a:t>
            </a:r>
            <a:r>
              <a:rPr lang="en-US" altLang="ja-JP" sz="800" dirty="0" smtClean="0">
                <a:solidFill>
                  <a:schemeClr val="tx2"/>
                </a:solidFill>
              </a:rPr>
              <a:t>8,700</a:t>
            </a:r>
            <a:r>
              <a:rPr lang="ja-JP" altLang="en-US" sz="800" dirty="0" smtClean="0">
                <a:solidFill>
                  <a:schemeClr val="tx2"/>
                </a:solidFill>
              </a:rPr>
              <a:t>名</a:t>
            </a:r>
            <a:r>
              <a:rPr lang="ja-JP" altLang="en-US" sz="800" dirty="0">
                <a:solidFill>
                  <a:schemeClr val="tx2"/>
                </a:solidFill>
              </a:rPr>
              <a:t>の専門家（公認会計士、税理士、弁護士、コンサルタントなど）を擁し、多国籍企業や主要な日本企業をクライアントとしています。詳細はデロイト トーマツ グループ</a:t>
            </a:r>
            <a:r>
              <a:rPr lang="en-US" altLang="ja-JP" sz="800" dirty="0">
                <a:solidFill>
                  <a:schemeClr val="tx2"/>
                </a:solidFill>
              </a:rPr>
              <a:t>Web</a:t>
            </a:r>
            <a:r>
              <a:rPr lang="ja-JP" altLang="en-US" sz="800" dirty="0">
                <a:solidFill>
                  <a:schemeClr val="tx2"/>
                </a:solidFill>
              </a:rPr>
              <a:t>サイト（</a:t>
            </a:r>
            <a:r>
              <a:rPr lang="en-US" altLang="ja-JP" sz="800" dirty="0">
                <a:solidFill>
                  <a:schemeClr val="tx2"/>
                </a:solidFill>
              </a:rPr>
              <a:t>www.deloitte.com/jp</a:t>
            </a:r>
            <a:r>
              <a:rPr lang="ja-JP" altLang="en-US" sz="800" dirty="0">
                <a:solidFill>
                  <a:schemeClr val="tx2"/>
                </a:solidFill>
              </a:rPr>
              <a:t>）をご覧ください</a:t>
            </a:r>
            <a:r>
              <a:rPr lang="ja-JP" altLang="en-US" sz="800" dirty="0" smtClean="0">
                <a:solidFill>
                  <a:schemeClr val="tx2"/>
                </a:solidFill>
              </a:rPr>
              <a:t>。</a:t>
            </a:r>
            <a:endParaRPr lang="en-US" altLang="ja-JP" sz="800" dirty="0" smtClean="0">
              <a:solidFill>
                <a:schemeClr val="tx2"/>
              </a:solidFill>
            </a:endParaRPr>
          </a:p>
          <a:p>
            <a:pPr>
              <a:lnSpc>
                <a:spcPct val="110000"/>
              </a:lnSpc>
            </a:pPr>
            <a:endParaRPr lang="ja-JP" altLang="en-US" sz="800" dirty="0" smtClean="0">
              <a:solidFill>
                <a:schemeClr val="tx2"/>
              </a:solidFill>
            </a:endParaRPr>
          </a:p>
          <a:p>
            <a:pPr>
              <a:lnSpc>
                <a:spcPct val="110000"/>
              </a:lnSpc>
            </a:pPr>
            <a:r>
              <a:rPr lang="en-US" altLang="ja-JP" sz="800" dirty="0" smtClean="0">
                <a:solidFill>
                  <a:schemeClr val="tx2"/>
                </a:solidFill>
              </a:rPr>
              <a:t>Deloitte</a:t>
            </a:r>
            <a:r>
              <a:rPr lang="ja-JP" altLang="en-US" sz="800" dirty="0">
                <a:solidFill>
                  <a:schemeClr val="tx2"/>
                </a:solidFill>
              </a:rPr>
              <a:t>（デロイト）は、監査、コンサルティング、ファイナンシャルアドバイザリーサービス、リスクマネジメント、税務およびこれらに関連するサービスを、さまざまな業種にわたる上場・非上場のクライアントに提供しています。全世界</a:t>
            </a:r>
            <a:r>
              <a:rPr lang="en-US" altLang="ja-JP" sz="800" dirty="0">
                <a:solidFill>
                  <a:schemeClr val="tx2"/>
                </a:solidFill>
              </a:rPr>
              <a:t>150</a:t>
            </a:r>
            <a:r>
              <a:rPr lang="ja-JP" altLang="en-US" sz="800" dirty="0">
                <a:solidFill>
                  <a:schemeClr val="tx2"/>
                </a:solidFill>
              </a:rPr>
              <a:t>を超える国・地域のメンバーファームのネットワークを通じ、デロイトは、高度に複合化されたビジネスに取り組むクライアントに向けて、深い洞察に基づき、世界最高水準の陣容をもって高品質なサービスを提供しています。デロイトの</a:t>
            </a:r>
            <a:r>
              <a:rPr lang="ja-JP" altLang="en-US" sz="800" dirty="0" smtClean="0">
                <a:solidFill>
                  <a:schemeClr val="tx2"/>
                </a:solidFill>
              </a:rPr>
              <a:t>約</a:t>
            </a:r>
            <a:r>
              <a:rPr lang="en-US" altLang="ja-JP" sz="800" dirty="0" smtClean="0">
                <a:solidFill>
                  <a:schemeClr val="tx2"/>
                </a:solidFill>
              </a:rPr>
              <a:t>225,000</a:t>
            </a:r>
            <a:r>
              <a:rPr lang="ja-JP" altLang="en-US" sz="800" dirty="0" smtClean="0">
                <a:solidFill>
                  <a:schemeClr val="tx2"/>
                </a:solidFill>
              </a:rPr>
              <a:t>名</a:t>
            </a:r>
            <a:r>
              <a:rPr lang="ja-JP" altLang="en-US" sz="800" dirty="0">
                <a:solidFill>
                  <a:schemeClr val="tx2"/>
                </a:solidFill>
              </a:rPr>
              <a:t>を超える人材は</a:t>
            </a:r>
            <a:r>
              <a:rPr lang="ja-JP" altLang="en-US" sz="800" dirty="0" smtClean="0">
                <a:solidFill>
                  <a:schemeClr val="tx2"/>
                </a:solidFill>
              </a:rPr>
              <a:t>、</a:t>
            </a:r>
            <a:r>
              <a:rPr lang="en-US" altLang="ja-JP" sz="800" dirty="0">
                <a:solidFill>
                  <a:schemeClr val="tx2"/>
                </a:solidFill>
                <a:latin typeface="+mn-ea"/>
              </a:rPr>
              <a:t>“</a:t>
            </a:r>
            <a:r>
              <a:rPr lang="en-US" altLang="ja-JP" sz="800" dirty="0">
                <a:solidFill>
                  <a:schemeClr val="tx2"/>
                </a:solidFill>
              </a:rPr>
              <a:t>making an impact that matters</a:t>
            </a:r>
            <a:r>
              <a:rPr lang="en-US" altLang="ja-JP" sz="800" dirty="0">
                <a:solidFill>
                  <a:schemeClr val="tx2"/>
                </a:solidFill>
                <a:latin typeface="+mn-ea"/>
              </a:rPr>
              <a:t>”</a:t>
            </a:r>
            <a:r>
              <a:rPr lang="ja-JP" altLang="en-US" sz="800" dirty="0">
                <a:solidFill>
                  <a:schemeClr val="tx2"/>
                </a:solidFill>
              </a:rPr>
              <a:t>を自らの使命としています。</a:t>
            </a:r>
            <a:endParaRPr lang="en-US" altLang="ja-JP" sz="800" dirty="0">
              <a:solidFill>
                <a:schemeClr val="tx2"/>
              </a:solidFill>
            </a:endParaRPr>
          </a:p>
          <a:p>
            <a:pPr algn="l">
              <a:lnSpc>
                <a:spcPct val="110000"/>
              </a:lnSpc>
            </a:pPr>
            <a:endParaRPr lang="ja-JP" altLang="en-US" sz="800" dirty="0" smtClean="0">
              <a:solidFill>
                <a:schemeClr val="tx2"/>
              </a:solidFill>
            </a:endParaRPr>
          </a:p>
          <a:p>
            <a:pPr>
              <a:lnSpc>
                <a:spcPct val="110000"/>
              </a:lnSpc>
            </a:pPr>
            <a:r>
              <a:rPr lang="en-US" altLang="ja-JP" sz="800" dirty="0">
                <a:solidFill>
                  <a:schemeClr val="tx2"/>
                </a:solidFill>
              </a:rPr>
              <a:t>Deloitte</a:t>
            </a:r>
            <a:r>
              <a:rPr lang="ja-JP" altLang="en-US" sz="800" dirty="0">
                <a:solidFill>
                  <a:schemeClr val="tx2"/>
                </a:solidFill>
              </a:rPr>
              <a:t>（デロイト）とは、英国の法令に基づく保証有限責任会社であるデロイト トウシュ トーマツ リミテッド（“</a:t>
            </a:r>
            <a:r>
              <a:rPr lang="en-US" altLang="ja-JP" sz="800" dirty="0" smtClean="0">
                <a:solidFill>
                  <a:schemeClr val="tx2"/>
                </a:solidFill>
              </a:rPr>
              <a:t>DTTL</a:t>
            </a:r>
            <a:r>
              <a:rPr lang="ja-JP" altLang="en-US" sz="800" dirty="0" smtClean="0">
                <a:solidFill>
                  <a:schemeClr val="tx2"/>
                </a:solidFill>
              </a:rPr>
              <a:t>”）</a:t>
            </a:r>
            <a:r>
              <a:rPr lang="ja-JP" altLang="en-US" sz="800" dirty="0">
                <a:solidFill>
                  <a:schemeClr val="tx2"/>
                </a:solidFill>
              </a:rPr>
              <a:t>ならびにそのネットワーク組織を構成するメンバーファームおよびその関係会社のひとつまたは複数を指します。</a:t>
            </a:r>
            <a:r>
              <a:rPr lang="en-US" altLang="ja-JP" sz="800" dirty="0">
                <a:solidFill>
                  <a:schemeClr val="tx2"/>
                </a:solidFill>
              </a:rPr>
              <a:t>DTTL</a:t>
            </a:r>
            <a:r>
              <a:rPr lang="ja-JP" altLang="en-US" sz="800" dirty="0">
                <a:solidFill>
                  <a:schemeClr val="tx2"/>
                </a:solidFill>
              </a:rPr>
              <a:t>および各メンバーファームはそれぞれ法的に独立した別個の組織体です。</a:t>
            </a:r>
            <a:r>
              <a:rPr lang="en-US" altLang="ja-JP" sz="800" dirty="0">
                <a:solidFill>
                  <a:schemeClr val="tx2"/>
                </a:solidFill>
              </a:rPr>
              <a:t>DTTL</a:t>
            </a:r>
            <a:r>
              <a:rPr lang="ja-JP" altLang="en-US" sz="800" dirty="0">
                <a:solidFill>
                  <a:schemeClr val="tx2"/>
                </a:solidFill>
              </a:rPr>
              <a:t>（または“</a:t>
            </a:r>
            <a:r>
              <a:rPr lang="en-US" altLang="ja-JP" sz="800" dirty="0">
                <a:solidFill>
                  <a:schemeClr val="tx2"/>
                </a:solidFill>
              </a:rPr>
              <a:t>Deloitte </a:t>
            </a:r>
            <a:r>
              <a:rPr lang="en-US" altLang="ja-JP" sz="800" dirty="0" smtClean="0">
                <a:solidFill>
                  <a:schemeClr val="tx2"/>
                </a:solidFill>
              </a:rPr>
              <a:t>Global</a:t>
            </a:r>
            <a:r>
              <a:rPr lang="ja-JP" altLang="en-US" sz="800" dirty="0" smtClean="0">
                <a:solidFill>
                  <a:schemeClr val="tx2"/>
                </a:solidFill>
              </a:rPr>
              <a:t>”）</a:t>
            </a:r>
            <a:r>
              <a:rPr lang="ja-JP" altLang="en-US" sz="800" dirty="0">
                <a:solidFill>
                  <a:schemeClr val="tx2"/>
                </a:solidFill>
              </a:rPr>
              <a:t>はクライアントへのサービス提供を行いません。</a:t>
            </a:r>
            <a:r>
              <a:rPr lang="en-US" altLang="ja-JP" sz="800" dirty="0">
                <a:solidFill>
                  <a:schemeClr val="tx2"/>
                </a:solidFill>
              </a:rPr>
              <a:t>DTTL</a:t>
            </a:r>
            <a:r>
              <a:rPr lang="ja-JP" altLang="en-US" sz="800" dirty="0">
                <a:solidFill>
                  <a:schemeClr val="tx2"/>
                </a:solidFill>
              </a:rPr>
              <a:t>およびそのメンバーファームについての詳細は </a:t>
            </a:r>
            <a:r>
              <a:rPr lang="en-US" altLang="ja-JP" sz="800" dirty="0">
                <a:solidFill>
                  <a:schemeClr val="tx2"/>
                </a:solidFill>
              </a:rPr>
              <a:t>www.deloitte.com/jp/about </a:t>
            </a:r>
            <a:r>
              <a:rPr lang="ja-JP" altLang="en-US" sz="800" dirty="0">
                <a:solidFill>
                  <a:schemeClr val="tx2"/>
                </a:solidFill>
              </a:rPr>
              <a:t>をご覧ください</a:t>
            </a:r>
            <a:r>
              <a:rPr lang="ja-JP" altLang="en-US" sz="800" dirty="0" smtClean="0">
                <a:solidFill>
                  <a:schemeClr val="tx2"/>
                </a:solidFill>
              </a:rPr>
              <a:t>。</a:t>
            </a:r>
            <a:endParaRPr lang="en-US" altLang="ja-JP" sz="800" dirty="0" smtClean="0">
              <a:solidFill>
                <a:schemeClr val="tx2"/>
              </a:solidFill>
            </a:endParaRPr>
          </a:p>
          <a:p>
            <a:pPr>
              <a:lnSpc>
                <a:spcPct val="110000"/>
              </a:lnSpc>
            </a:pPr>
            <a:endParaRPr lang="en-US" altLang="ja-JP" sz="800" dirty="0" smtClean="0">
              <a:solidFill>
                <a:schemeClr val="tx2"/>
              </a:solidFill>
            </a:endParaRPr>
          </a:p>
          <a:p>
            <a:pPr algn="l">
              <a:lnSpc>
                <a:spcPct val="110000"/>
              </a:lnSpc>
            </a:pPr>
            <a:r>
              <a:rPr lang="ja-JP" altLang="en-US" sz="800" dirty="0" smtClean="0">
                <a:solidFill>
                  <a:schemeClr val="tx2"/>
                </a:solidFill>
              </a:rPr>
              <a:t>本資料は、デロイト トウシュ トーマツ リミテッド、そのメンバーファームあるいはそれぞれの関連事業体（総称して“デロイトネットワーク”）の社員・職員のための、内部限の資料です。その趣旨に反して、本資料を利用して生じることのある損失等に対し、デロイトネットワークの社員・職員の責任に帰するものではありません。</a:t>
            </a:r>
          </a:p>
          <a:p>
            <a:pPr algn="l">
              <a:lnSpc>
                <a:spcPct val="110000"/>
              </a:lnSpc>
            </a:pPr>
            <a:endParaRPr lang="ja-JP" altLang="en-US" sz="800" dirty="0" smtClean="0">
              <a:solidFill>
                <a:schemeClr val="tx2"/>
              </a:solidFill>
            </a:endParaRPr>
          </a:p>
          <a:p>
            <a:pPr>
              <a:lnSpc>
                <a:spcPct val="110000"/>
              </a:lnSpc>
            </a:pPr>
            <a:r>
              <a:rPr lang="en-US" altLang="ja-JP" sz="800" dirty="0">
                <a:solidFill>
                  <a:schemeClr val="tx2"/>
                </a:solidFill>
              </a:rPr>
              <a:t>© </a:t>
            </a:r>
            <a:r>
              <a:rPr lang="en-US" altLang="ja-JP" sz="800" dirty="0" smtClean="0">
                <a:solidFill>
                  <a:schemeClr val="tx2"/>
                </a:solidFill>
              </a:rPr>
              <a:t>2016. </a:t>
            </a:r>
            <a:r>
              <a:rPr lang="en-US" altLang="ja-JP" sz="800" dirty="0">
                <a:solidFill>
                  <a:schemeClr val="tx2"/>
                </a:solidFill>
              </a:rPr>
              <a:t>For information, contact Tohmatsu Innovation Co., Ltd.</a:t>
            </a:r>
            <a:endParaRPr lang="fr-FR" altLang="ja-JP" sz="800" dirty="0">
              <a:solidFill>
                <a:schemeClr val="tx2"/>
              </a:solidFill>
            </a:endParaRPr>
          </a:p>
        </p:txBody>
      </p:sp>
      <p:sp>
        <p:nvSpPr>
          <p:cNvPr id="7" name="テキスト ボックス 6"/>
          <p:cNvSpPr txBox="1"/>
          <p:nvPr userDrawn="1"/>
        </p:nvSpPr>
        <p:spPr bwMode="gray">
          <a:xfrm>
            <a:off x="7775113" y="6517421"/>
            <a:ext cx="1684757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 smtClean="0">
                <a:solidFill>
                  <a:schemeClr val="accent1"/>
                </a:solidFill>
              </a:rPr>
              <a:t>Member of</a:t>
            </a:r>
            <a:br>
              <a:rPr kumimoji="1" lang="en-US" altLang="ja-JP" sz="800" dirty="0" smtClean="0">
                <a:solidFill>
                  <a:schemeClr val="accent1"/>
                </a:solidFill>
              </a:rPr>
            </a:br>
            <a:r>
              <a:rPr kumimoji="1" lang="en-US" altLang="ja-JP" sz="800" b="1" dirty="0" smtClean="0">
                <a:solidFill>
                  <a:schemeClr val="accent1"/>
                </a:solidFill>
              </a:rPr>
              <a:t>Deloitte Touche Tohmatsu Limited</a:t>
            </a:r>
            <a:endParaRPr kumimoji="1" lang="ja-JP" altLang="en-US" sz="800" b="1" dirty="0">
              <a:solidFill>
                <a:schemeClr val="accent1"/>
              </a:solidFill>
            </a:endParaRPr>
          </a:p>
        </p:txBody>
      </p:sp>
      <p:pic>
        <p:nvPicPr>
          <p:cNvPr id="9" name="図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800" y="2502000"/>
            <a:ext cx="1943654" cy="61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891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表紙：LA1_16_9_Onscreen（Planning&amp;control）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sp>
        <p:nvSpPr>
          <p:cNvPr id="9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sp>
        <p:nvSpPr>
          <p:cNvPr id="10" name="バージョン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49277" y="6222469"/>
            <a:ext cx="2022302" cy="206096"/>
          </a:xfrm>
          <a:prstGeom prst="rect">
            <a:avLst/>
          </a:prstGeom>
        </p:spPr>
        <p:txBody>
          <a:bodyPr wrap="square" lIns="36000" tIns="36000" rIns="36000" bIns="3600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67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 err="1" smtClean="0"/>
              <a:t>Ver.XXX</a:t>
            </a:r>
            <a:endParaRPr lang="ja-JP" altLang="en-US" dirty="0"/>
          </a:p>
        </p:txBody>
      </p:sp>
      <p:pic>
        <p:nvPicPr>
          <p:cNvPr id="13" name="図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9277" y="5527551"/>
            <a:ext cx="2022302" cy="516581"/>
          </a:xfrm>
          <a:prstGeom prst="rect">
            <a:avLst/>
          </a:prstGeom>
        </p:spPr>
      </p:pic>
      <p:sp>
        <p:nvSpPr>
          <p:cNvPr id="14" name="表紙サブタイトル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4420" y="3898245"/>
            <a:ext cx="4596587" cy="28803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33">
                <a:solidFill>
                  <a:schemeClr val="tx1"/>
                </a:solidFill>
              </a:defRPr>
            </a:lvl1pPr>
            <a:lvl2pPr marL="402393" indent="0" algn="ctr">
              <a:buNone/>
              <a:defRPr sz="1760"/>
            </a:lvl2pPr>
            <a:lvl3pPr marL="804784" indent="0" algn="ctr">
              <a:buNone/>
              <a:defRPr sz="1585"/>
            </a:lvl3pPr>
            <a:lvl4pPr marL="1207176" indent="0" algn="ctr">
              <a:buNone/>
              <a:defRPr sz="1408"/>
            </a:lvl4pPr>
            <a:lvl5pPr marL="1609567" indent="0" algn="ctr">
              <a:buNone/>
              <a:defRPr sz="1408"/>
            </a:lvl5pPr>
            <a:lvl6pPr marL="2011960" indent="0" algn="ctr">
              <a:buNone/>
              <a:defRPr sz="1408"/>
            </a:lvl6pPr>
            <a:lvl7pPr marL="2414352" indent="0" algn="ctr">
              <a:buNone/>
              <a:defRPr sz="1408"/>
            </a:lvl7pPr>
            <a:lvl8pPr marL="2816744" indent="0" algn="ctr">
              <a:buNone/>
              <a:defRPr sz="1408"/>
            </a:lvl8pPr>
            <a:lvl9pPr marL="3219133" indent="0" algn="ctr">
              <a:buNone/>
              <a:defRPr sz="1408"/>
            </a:lvl9pPr>
          </a:lstStyle>
          <a:p>
            <a:r>
              <a:rPr lang="ja-JP" altLang="en-US" noProof="0" dirty="0"/>
              <a:t>表紙</a:t>
            </a:r>
            <a:r>
              <a:rPr lang="ja-JP" altLang="en-US" noProof="0" dirty="0" smtClean="0"/>
              <a:t>サブタイトル（任意）／</a:t>
            </a:r>
            <a:r>
              <a:rPr lang="en-US" altLang="ja-JP" noProof="0" dirty="0" smtClean="0"/>
              <a:t>16pt</a:t>
            </a:r>
          </a:p>
        </p:txBody>
      </p:sp>
      <p:sp>
        <p:nvSpPr>
          <p:cNvPr id="15" name="表紙タイトル"/>
          <p:cNvSpPr>
            <a:spLocks noGrp="1"/>
          </p:cNvSpPr>
          <p:nvPr>
            <p:ph type="ctrTitle" hasCustomPrompt="1"/>
          </p:nvPr>
        </p:nvSpPr>
        <p:spPr bwMode="gray">
          <a:xfrm>
            <a:off x="434422" y="4234245"/>
            <a:ext cx="8028968" cy="1114968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17" b="1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 smtClean="0"/>
              <a:t>表紙タイトル／</a:t>
            </a:r>
            <a:r>
              <a:rPr lang="en-US" altLang="ja-JP" noProof="0" dirty="0" smtClean="0"/>
              <a:t>26pt </a:t>
            </a:r>
            <a:r>
              <a:rPr lang="ja-JP" altLang="en-US" noProof="0" dirty="0" smtClean="0"/>
              <a:t>太字</a:t>
            </a:r>
            <a:r>
              <a:rPr lang="en-US" altLang="ja-JP" noProof="0" dirty="0" smtClean="0"/>
              <a:t/>
            </a:r>
            <a:br>
              <a:rPr lang="en-US" altLang="ja-JP" noProof="0" dirty="0" smtClean="0"/>
            </a:br>
            <a:r>
              <a:rPr lang="ja-JP" altLang="en-US" noProof="0" dirty="0" smtClean="0"/>
              <a:t>表紙タイトル／</a:t>
            </a:r>
            <a:r>
              <a:rPr lang="en-US" altLang="ja-JP" noProof="0" dirty="0" smtClean="0"/>
              <a:t>26pt </a:t>
            </a:r>
            <a:r>
              <a:rPr lang="ja-JP" altLang="en-US" noProof="0" dirty="0" smtClean="0"/>
              <a:t>太字</a:t>
            </a:r>
            <a:endParaRPr lang="en-US" noProof="0" dirty="0"/>
          </a:p>
        </p:txBody>
      </p:sp>
      <p:pic>
        <p:nvPicPr>
          <p:cNvPr id="16" name="図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326" y="555824"/>
            <a:ext cx="9034272" cy="3096768"/>
          </a:xfrm>
          <a:prstGeom prst="rect">
            <a:avLst/>
          </a:prstGeom>
        </p:spPr>
      </p:pic>
      <p:grpSp>
        <p:nvGrpSpPr>
          <p:cNvPr id="17" name="グループ化 16"/>
          <p:cNvGrpSpPr/>
          <p:nvPr/>
        </p:nvGrpSpPr>
        <p:grpSpPr>
          <a:xfrm>
            <a:off x="1599406" y="2779185"/>
            <a:ext cx="1714631" cy="179321"/>
            <a:chOff x="1477083" y="2253006"/>
            <a:chExt cx="1582736" cy="134491"/>
          </a:xfrm>
        </p:grpSpPr>
        <p:sp>
          <p:nvSpPr>
            <p:cNvPr id="19" name="Freeform 5"/>
            <p:cNvSpPr>
              <a:spLocks noEditPoints="1"/>
            </p:cNvSpPr>
            <p:nvPr/>
          </p:nvSpPr>
          <p:spPr bwMode="auto">
            <a:xfrm>
              <a:off x="1477083" y="2281674"/>
              <a:ext cx="58043" cy="105823"/>
            </a:xfrm>
            <a:custGeom>
              <a:avLst/>
              <a:gdLst>
                <a:gd name="T0" fmla="*/ 55 w 69"/>
                <a:gd name="T1" fmla="*/ 5 h 124"/>
                <a:gd name="T2" fmla="*/ 40 w 69"/>
                <a:gd name="T3" fmla="*/ 0 h 124"/>
                <a:gd name="T4" fmla="*/ 26 w 69"/>
                <a:gd name="T5" fmla="*/ 5 h 124"/>
                <a:gd name="T6" fmla="*/ 17 w 69"/>
                <a:gd name="T7" fmla="*/ 14 h 124"/>
                <a:gd name="T8" fmla="*/ 17 w 69"/>
                <a:gd name="T9" fmla="*/ 2 h 124"/>
                <a:gd name="T10" fmla="*/ 0 w 69"/>
                <a:gd name="T11" fmla="*/ 2 h 124"/>
                <a:gd name="T12" fmla="*/ 0 w 69"/>
                <a:gd name="T13" fmla="*/ 124 h 124"/>
                <a:gd name="T14" fmla="*/ 17 w 69"/>
                <a:gd name="T15" fmla="*/ 124 h 124"/>
                <a:gd name="T16" fmla="*/ 17 w 69"/>
                <a:gd name="T17" fmla="*/ 77 h 124"/>
                <a:gd name="T18" fmla="*/ 25 w 69"/>
                <a:gd name="T19" fmla="*/ 86 h 124"/>
                <a:gd name="T20" fmla="*/ 39 w 69"/>
                <a:gd name="T21" fmla="*/ 90 h 124"/>
                <a:gd name="T22" fmla="*/ 55 w 69"/>
                <a:gd name="T23" fmla="*/ 86 h 124"/>
                <a:gd name="T24" fmla="*/ 65 w 69"/>
                <a:gd name="T25" fmla="*/ 74 h 124"/>
                <a:gd name="T26" fmla="*/ 69 w 69"/>
                <a:gd name="T27" fmla="*/ 55 h 124"/>
                <a:gd name="T28" fmla="*/ 69 w 69"/>
                <a:gd name="T29" fmla="*/ 36 h 124"/>
                <a:gd name="T30" fmla="*/ 66 w 69"/>
                <a:gd name="T31" fmla="*/ 17 h 124"/>
                <a:gd name="T32" fmla="*/ 55 w 69"/>
                <a:gd name="T33" fmla="*/ 5 h 124"/>
                <a:gd name="T34" fmla="*/ 52 w 69"/>
                <a:gd name="T35" fmla="*/ 55 h 124"/>
                <a:gd name="T36" fmla="*/ 47 w 69"/>
                <a:gd name="T37" fmla="*/ 69 h 124"/>
                <a:gd name="T38" fmla="*/ 34 w 69"/>
                <a:gd name="T39" fmla="*/ 74 h 124"/>
                <a:gd name="T40" fmla="*/ 25 w 69"/>
                <a:gd name="T41" fmla="*/ 72 h 124"/>
                <a:gd name="T42" fmla="*/ 19 w 69"/>
                <a:gd name="T43" fmla="*/ 66 h 124"/>
                <a:gd name="T44" fmla="*/ 17 w 69"/>
                <a:gd name="T45" fmla="*/ 57 h 124"/>
                <a:gd name="T46" fmla="*/ 17 w 69"/>
                <a:gd name="T47" fmla="*/ 33 h 124"/>
                <a:gd name="T48" fmla="*/ 19 w 69"/>
                <a:gd name="T49" fmla="*/ 24 h 124"/>
                <a:gd name="T50" fmla="*/ 25 w 69"/>
                <a:gd name="T51" fmla="*/ 18 h 124"/>
                <a:gd name="T52" fmla="*/ 34 w 69"/>
                <a:gd name="T53" fmla="*/ 16 h 124"/>
                <a:gd name="T54" fmla="*/ 47 w 69"/>
                <a:gd name="T55" fmla="*/ 21 h 124"/>
                <a:gd name="T56" fmla="*/ 52 w 69"/>
                <a:gd name="T57" fmla="*/ 36 h 124"/>
                <a:gd name="T58" fmla="*/ 52 w 69"/>
                <a:gd name="T59" fmla="*/ 5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9" h="124">
                  <a:moveTo>
                    <a:pt x="55" y="5"/>
                  </a:moveTo>
                  <a:cubicBezTo>
                    <a:pt x="51" y="2"/>
                    <a:pt x="46" y="0"/>
                    <a:pt x="40" y="0"/>
                  </a:cubicBezTo>
                  <a:cubicBezTo>
                    <a:pt x="34" y="0"/>
                    <a:pt x="30" y="2"/>
                    <a:pt x="26" y="5"/>
                  </a:cubicBezTo>
                  <a:cubicBezTo>
                    <a:pt x="22" y="7"/>
                    <a:pt x="19" y="10"/>
                    <a:pt x="17" y="14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17" y="124"/>
                    <a:pt x="17" y="124"/>
                    <a:pt x="17" y="124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9" y="81"/>
                    <a:pt x="21" y="84"/>
                    <a:pt x="25" y="86"/>
                  </a:cubicBezTo>
                  <a:cubicBezTo>
                    <a:pt x="29" y="89"/>
                    <a:pt x="33" y="90"/>
                    <a:pt x="39" y="90"/>
                  </a:cubicBezTo>
                  <a:cubicBezTo>
                    <a:pt x="45" y="90"/>
                    <a:pt x="51" y="89"/>
                    <a:pt x="55" y="86"/>
                  </a:cubicBezTo>
                  <a:cubicBezTo>
                    <a:pt x="60" y="83"/>
                    <a:pt x="63" y="79"/>
                    <a:pt x="65" y="74"/>
                  </a:cubicBezTo>
                  <a:cubicBezTo>
                    <a:pt x="68" y="68"/>
                    <a:pt x="69" y="62"/>
                    <a:pt x="69" y="55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69" y="28"/>
                    <a:pt x="68" y="22"/>
                    <a:pt x="66" y="17"/>
                  </a:cubicBezTo>
                  <a:cubicBezTo>
                    <a:pt x="63" y="11"/>
                    <a:pt x="60" y="7"/>
                    <a:pt x="55" y="5"/>
                  </a:cubicBezTo>
                  <a:close/>
                  <a:moveTo>
                    <a:pt x="52" y="55"/>
                  </a:moveTo>
                  <a:cubicBezTo>
                    <a:pt x="52" y="61"/>
                    <a:pt x="50" y="66"/>
                    <a:pt x="47" y="69"/>
                  </a:cubicBezTo>
                  <a:cubicBezTo>
                    <a:pt x="44" y="73"/>
                    <a:pt x="40" y="74"/>
                    <a:pt x="34" y="74"/>
                  </a:cubicBezTo>
                  <a:cubicBezTo>
                    <a:pt x="30" y="74"/>
                    <a:pt x="27" y="74"/>
                    <a:pt x="25" y="72"/>
                  </a:cubicBezTo>
                  <a:cubicBezTo>
                    <a:pt x="22" y="71"/>
                    <a:pt x="20" y="69"/>
                    <a:pt x="19" y="66"/>
                  </a:cubicBezTo>
                  <a:cubicBezTo>
                    <a:pt x="18" y="64"/>
                    <a:pt x="17" y="61"/>
                    <a:pt x="17" y="57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29"/>
                    <a:pt x="18" y="26"/>
                    <a:pt x="19" y="24"/>
                  </a:cubicBezTo>
                  <a:cubicBezTo>
                    <a:pt x="20" y="21"/>
                    <a:pt x="22" y="19"/>
                    <a:pt x="25" y="18"/>
                  </a:cubicBezTo>
                  <a:cubicBezTo>
                    <a:pt x="27" y="16"/>
                    <a:pt x="30" y="16"/>
                    <a:pt x="34" y="16"/>
                  </a:cubicBezTo>
                  <a:cubicBezTo>
                    <a:pt x="40" y="16"/>
                    <a:pt x="44" y="18"/>
                    <a:pt x="47" y="21"/>
                  </a:cubicBezTo>
                  <a:cubicBezTo>
                    <a:pt x="50" y="25"/>
                    <a:pt x="52" y="30"/>
                    <a:pt x="52" y="36"/>
                  </a:cubicBezTo>
                  <a:lnTo>
                    <a:pt x="52" y="55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1581136" y="2253714"/>
              <a:ext cx="25836" cy="104053"/>
            </a:xfrm>
            <a:custGeom>
              <a:avLst/>
              <a:gdLst>
                <a:gd name="T0" fmla="*/ 19 w 31"/>
                <a:gd name="T1" fmla="*/ 104 h 122"/>
                <a:gd name="T2" fmla="*/ 17 w 31"/>
                <a:gd name="T3" fmla="*/ 99 h 122"/>
                <a:gd name="T4" fmla="*/ 17 w 31"/>
                <a:gd name="T5" fmla="*/ 0 h 122"/>
                <a:gd name="T6" fmla="*/ 0 w 31"/>
                <a:gd name="T7" fmla="*/ 0 h 122"/>
                <a:gd name="T8" fmla="*/ 0 w 31"/>
                <a:gd name="T9" fmla="*/ 99 h 122"/>
                <a:gd name="T10" fmla="*/ 5 w 31"/>
                <a:gd name="T11" fmla="*/ 116 h 122"/>
                <a:gd name="T12" fmla="*/ 21 w 31"/>
                <a:gd name="T13" fmla="*/ 122 h 122"/>
                <a:gd name="T14" fmla="*/ 31 w 31"/>
                <a:gd name="T15" fmla="*/ 122 h 122"/>
                <a:gd name="T16" fmla="*/ 31 w 31"/>
                <a:gd name="T17" fmla="*/ 106 h 122"/>
                <a:gd name="T18" fmla="*/ 23 w 31"/>
                <a:gd name="T19" fmla="*/ 106 h 122"/>
                <a:gd name="T20" fmla="*/ 19 w 31"/>
                <a:gd name="T21" fmla="*/ 10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122">
                  <a:moveTo>
                    <a:pt x="19" y="104"/>
                  </a:moveTo>
                  <a:cubicBezTo>
                    <a:pt x="18" y="103"/>
                    <a:pt x="17" y="101"/>
                    <a:pt x="17" y="99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6"/>
                    <a:pt x="2" y="112"/>
                    <a:pt x="5" y="116"/>
                  </a:cubicBezTo>
                  <a:cubicBezTo>
                    <a:pt x="9" y="120"/>
                    <a:pt x="14" y="122"/>
                    <a:pt x="21" y="122"/>
                  </a:cubicBezTo>
                  <a:cubicBezTo>
                    <a:pt x="31" y="122"/>
                    <a:pt x="31" y="122"/>
                    <a:pt x="31" y="122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23" y="106"/>
                    <a:pt x="23" y="106"/>
                    <a:pt x="23" y="106"/>
                  </a:cubicBezTo>
                  <a:cubicBezTo>
                    <a:pt x="21" y="106"/>
                    <a:pt x="20" y="105"/>
                    <a:pt x="19" y="104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21" name="Freeform 7"/>
            <p:cNvSpPr>
              <a:spLocks noEditPoints="1"/>
            </p:cNvSpPr>
            <p:nvPr/>
          </p:nvSpPr>
          <p:spPr bwMode="auto">
            <a:xfrm>
              <a:off x="1644842" y="2281674"/>
              <a:ext cx="57689" cy="76801"/>
            </a:xfrm>
            <a:custGeom>
              <a:avLst/>
              <a:gdLst>
                <a:gd name="T0" fmla="*/ 54 w 69"/>
                <a:gd name="T1" fmla="*/ 4 h 90"/>
                <a:gd name="T2" fmla="*/ 35 w 69"/>
                <a:gd name="T3" fmla="*/ 0 h 90"/>
                <a:gd name="T4" fmla="*/ 17 w 69"/>
                <a:gd name="T5" fmla="*/ 4 h 90"/>
                <a:gd name="T6" fmla="*/ 4 w 69"/>
                <a:gd name="T7" fmla="*/ 13 h 90"/>
                <a:gd name="T8" fmla="*/ 17 w 69"/>
                <a:gd name="T9" fmla="*/ 21 h 90"/>
                <a:gd name="T10" fmla="*/ 25 w 69"/>
                <a:gd name="T11" fmla="*/ 17 h 90"/>
                <a:gd name="T12" fmla="*/ 36 w 69"/>
                <a:gd name="T13" fmla="*/ 15 h 90"/>
                <a:gd name="T14" fmla="*/ 48 w 69"/>
                <a:gd name="T15" fmla="*/ 20 h 90"/>
                <a:gd name="T16" fmla="*/ 53 w 69"/>
                <a:gd name="T17" fmla="*/ 33 h 90"/>
                <a:gd name="T18" fmla="*/ 53 w 69"/>
                <a:gd name="T19" fmla="*/ 37 h 90"/>
                <a:gd name="T20" fmla="*/ 29 w 69"/>
                <a:gd name="T21" fmla="*/ 37 h 90"/>
                <a:gd name="T22" fmla="*/ 7 w 69"/>
                <a:gd name="T23" fmla="*/ 44 h 90"/>
                <a:gd name="T24" fmla="*/ 0 w 69"/>
                <a:gd name="T25" fmla="*/ 63 h 90"/>
                <a:gd name="T26" fmla="*/ 8 w 69"/>
                <a:gd name="T27" fmla="*/ 83 h 90"/>
                <a:gd name="T28" fmla="*/ 32 w 69"/>
                <a:gd name="T29" fmla="*/ 90 h 90"/>
                <a:gd name="T30" fmla="*/ 42 w 69"/>
                <a:gd name="T31" fmla="*/ 89 h 90"/>
                <a:gd name="T32" fmla="*/ 49 w 69"/>
                <a:gd name="T33" fmla="*/ 85 h 90"/>
                <a:gd name="T34" fmla="*/ 53 w 69"/>
                <a:gd name="T35" fmla="*/ 81 h 90"/>
                <a:gd name="T36" fmla="*/ 53 w 69"/>
                <a:gd name="T37" fmla="*/ 89 h 90"/>
                <a:gd name="T38" fmla="*/ 69 w 69"/>
                <a:gd name="T39" fmla="*/ 89 h 90"/>
                <a:gd name="T40" fmla="*/ 69 w 69"/>
                <a:gd name="T41" fmla="*/ 33 h 90"/>
                <a:gd name="T42" fmla="*/ 65 w 69"/>
                <a:gd name="T43" fmla="*/ 15 h 90"/>
                <a:gd name="T44" fmla="*/ 54 w 69"/>
                <a:gd name="T45" fmla="*/ 4 h 90"/>
                <a:gd name="T46" fmla="*/ 48 w 69"/>
                <a:gd name="T47" fmla="*/ 74 h 90"/>
                <a:gd name="T48" fmla="*/ 34 w 69"/>
                <a:gd name="T49" fmla="*/ 76 h 90"/>
                <a:gd name="T50" fmla="*/ 20 w 69"/>
                <a:gd name="T51" fmla="*/ 73 h 90"/>
                <a:gd name="T52" fmla="*/ 16 w 69"/>
                <a:gd name="T53" fmla="*/ 63 h 90"/>
                <a:gd name="T54" fmla="*/ 19 w 69"/>
                <a:gd name="T55" fmla="*/ 54 h 90"/>
                <a:gd name="T56" fmla="*/ 29 w 69"/>
                <a:gd name="T57" fmla="*/ 51 h 90"/>
                <a:gd name="T58" fmla="*/ 53 w 69"/>
                <a:gd name="T59" fmla="*/ 51 h 90"/>
                <a:gd name="T60" fmla="*/ 53 w 69"/>
                <a:gd name="T61" fmla="*/ 67 h 90"/>
                <a:gd name="T62" fmla="*/ 48 w 69"/>
                <a:gd name="T63" fmla="*/ 7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9" h="90">
                  <a:moveTo>
                    <a:pt x="54" y="4"/>
                  </a:moveTo>
                  <a:cubicBezTo>
                    <a:pt x="48" y="2"/>
                    <a:pt x="42" y="0"/>
                    <a:pt x="35" y="0"/>
                  </a:cubicBezTo>
                  <a:cubicBezTo>
                    <a:pt x="28" y="0"/>
                    <a:pt x="22" y="1"/>
                    <a:pt x="17" y="4"/>
                  </a:cubicBezTo>
                  <a:cubicBezTo>
                    <a:pt x="12" y="6"/>
                    <a:pt x="7" y="9"/>
                    <a:pt x="4" y="13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9" y="20"/>
                    <a:pt x="22" y="18"/>
                    <a:pt x="25" y="17"/>
                  </a:cubicBezTo>
                  <a:cubicBezTo>
                    <a:pt x="29" y="16"/>
                    <a:pt x="32" y="15"/>
                    <a:pt x="36" y="15"/>
                  </a:cubicBezTo>
                  <a:cubicBezTo>
                    <a:pt x="41" y="15"/>
                    <a:pt x="45" y="17"/>
                    <a:pt x="48" y="20"/>
                  </a:cubicBezTo>
                  <a:cubicBezTo>
                    <a:pt x="52" y="23"/>
                    <a:pt x="53" y="28"/>
                    <a:pt x="53" y="33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19" y="37"/>
                    <a:pt x="12" y="39"/>
                    <a:pt x="7" y="44"/>
                  </a:cubicBezTo>
                  <a:cubicBezTo>
                    <a:pt x="2" y="48"/>
                    <a:pt x="0" y="54"/>
                    <a:pt x="0" y="63"/>
                  </a:cubicBezTo>
                  <a:cubicBezTo>
                    <a:pt x="0" y="72"/>
                    <a:pt x="2" y="79"/>
                    <a:pt x="8" y="83"/>
                  </a:cubicBezTo>
                  <a:cubicBezTo>
                    <a:pt x="13" y="88"/>
                    <a:pt x="21" y="90"/>
                    <a:pt x="32" y="90"/>
                  </a:cubicBezTo>
                  <a:cubicBezTo>
                    <a:pt x="35" y="90"/>
                    <a:pt x="39" y="90"/>
                    <a:pt x="42" y="89"/>
                  </a:cubicBezTo>
                  <a:cubicBezTo>
                    <a:pt x="44" y="88"/>
                    <a:pt x="47" y="87"/>
                    <a:pt x="49" y="85"/>
                  </a:cubicBezTo>
                  <a:cubicBezTo>
                    <a:pt x="51" y="84"/>
                    <a:pt x="52" y="83"/>
                    <a:pt x="53" y="8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69" y="89"/>
                    <a:pt x="69" y="89"/>
                    <a:pt x="69" y="89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9" y="26"/>
                    <a:pt x="68" y="20"/>
                    <a:pt x="65" y="15"/>
                  </a:cubicBezTo>
                  <a:cubicBezTo>
                    <a:pt x="63" y="10"/>
                    <a:pt x="59" y="7"/>
                    <a:pt x="54" y="4"/>
                  </a:cubicBezTo>
                  <a:close/>
                  <a:moveTo>
                    <a:pt x="48" y="74"/>
                  </a:moveTo>
                  <a:cubicBezTo>
                    <a:pt x="45" y="75"/>
                    <a:pt x="40" y="76"/>
                    <a:pt x="34" y="76"/>
                  </a:cubicBezTo>
                  <a:cubicBezTo>
                    <a:pt x="28" y="76"/>
                    <a:pt x="23" y="75"/>
                    <a:pt x="20" y="73"/>
                  </a:cubicBezTo>
                  <a:cubicBezTo>
                    <a:pt x="17" y="71"/>
                    <a:pt x="16" y="67"/>
                    <a:pt x="16" y="63"/>
                  </a:cubicBezTo>
                  <a:cubicBezTo>
                    <a:pt x="16" y="59"/>
                    <a:pt x="17" y="56"/>
                    <a:pt x="19" y="54"/>
                  </a:cubicBezTo>
                  <a:cubicBezTo>
                    <a:pt x="21" y="52"/>
                    <a:pt x="25" y="51"/>
                    <a:pt x="29" y="51"/>
                  </a:cubicBezTo>
                  <a:cubicBezTo>
                    <a:pt x="53" y="51"/>
                    <a:pt x="53" y="51"/>
                    <a:pt x="53" y="51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3" y="70"/>
                    <a:pt x="51" y="72"/>
                    <a:pt x="48" y="74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22" name="Freeform 8"/>
            <p:cNvSpPr>
              <a:spLocks/>
            </p:cNvSpPr>
            <p:nvPr/>
          </p:nvSpPr>
          <p:spPr bwMode="auto">
            <a:xfrm>
              <a:off x="1750310" y="2281674"/>
              <a:ext cx="58397" cy="76093"/>
            </a:xfrm>
            <a:custGeom>
              <a:avLst/>
              <a:gdLst>
                <a:gd name="T0" fmla="*/ 40 w 70"/>
                <a:gd name="T1" fmla="*/ 0 h 89"/>
                <a:gd name="T2" fmla="*/ 26 w 70"/>
                <a:gd name="T3" fmla="*/ 5 h 89"/>
                <a:gd name="T4" fmla="*/ 17 w 70"/>
                <a:gd name="T5" fmla="*/ 14 h 89"/>
                <a:gd name="T6" fmla="*/ 17 w 70"/>
                <a:gd name="T7" fmla="*/ 2 h 89"/>
                <a:gd name="T8" fmla="*/ 0 w 70"/>
                <a:gd name="T9" fmla="*/ 2 h 89"/>
                <a:gd name="T10" fmla="*/ 0 w 70"/>
                <a:gd name="T11" fmla="*/ 89 h 89"/>
                <a:gd name="T12" fmla="*/ 17 w 70"/>
                <a:gd name="T13" fmla="*/ 89 h 89"/>
                <a:gd name="T14" fmla="*/ 17 w 70"/>
                <a:gd name="T15" fmla="*/ 34 h 89"/>
                <a:gd name="T16" fmla="*/ 22 w 70"/>
                <a:gd name="T17" fmla="*/ 21 h 89"/>
                <a:gd name="T18" fmla="*/ 35 w 70"/>
                <a:gd name="T19" fmla="*/ 17 h 89"/>
                <a:gd name="T20" fmla="*/ 48 w 70"/>
                <a:gd name="T21" fmla="*/ 22 h 89"/>
                <a:gd name="T22" fmla="*/ 53 w 70"/>
                <a:gd name="T23" fmla="*/ 36 h 89"/>
                <a:gd name="T24" fmla="*/ 53 w 70"/>
                <a:gd name="T25" fmla="*/ 89 h 89"/>
                <a:gd name="T26" fmla="*/ 70 w 70"/>
                <a:gd name="T27" fmla="*/ 89 h 89"/>
                <a:gd name="T28" fmla="*/ 70 w 70"/>
                <a:gd name="T29" fmla="*/ 36 h 89"/>
                <a:gd name="T30" fmla="*/ 62 w 70"/>
                <a:gd name="T31" fmla="*/ 10 h 89"/>
                <a:gd name="T32" fmla="*/ 40 w 70"/>
                <a:gd name="T3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89">
                  <a:moveTo>
                    <a:pt x="40" y="0"/>
                  </a:moveTo>
                  <a:cubicBezTo>
                    <a:pt x="35" y="0"/>
                    <a:pt x="30" y="2"/>
                    <a:pt x="26" y="5"/>
                  </a:cubicBezTo>
                  <a:cubicBezTo>
                    <a:pt x="23" y="7"/>
                    <a:pt x="20" y="10"/>
                    <a:pt x="17" y="14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28"/>
                    <a:pt x="19" y="24"/>
                    <a:pt x="22" y="21"/>
                  </a:cubicBezTo>
                  <a:cubicBezTo>
                    <a:pt x="25" y="18"/>
                    <a:pt x="29" y="17"/>
                    <a:pt x="35" y="17"/>
                  </a:cubicBezTo>
                  <a:cubicBezTo>
                    <a:pt x="41" y="17"/>
                    <a:pt x="45" y="18"/>
                    <a:pt x="48" y="22"/>
                  </a:cubicBezTo>
                  <a:cubicBezTo>
                    <a:pt x="51" y="25"/>
                    <a:pt x="53" y="30"/>
                    <a:pt x="53" y="36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0" y="25"/>
                    <a:pt x="68" y="16"/>
                    <a:pt x="62" y="10"/>
                  </a:cubicBezTo>
                  <a:cubicBezTo>
                    <a:pt x="57" y="3"/>
                    <a:pt x="50" y="0"/>
                    <a:pt x="40" y="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23" name="Freeform 9"/>
            <p:cNvSpPr>
              <a:spLocks/>
            </p:cNvSpPr>
            <p:nvPr/>
          </p:nvSpPr>
          <p:spPr bwMode="auto">
            <a:xfrm>
              <a:off x="1856487" y="2281674"/>
              <a:ext cx="58751" cy="76093"/>
            </a:xfrm>
            <a:custGeom>
              <a:avLst/>
              <a:gdLst>
                <a:gd name="T0" fmla="*/ 40 w 70"/>
                <a:gd name="T1" fmla="*/ 0 h 89"/>
                <a:gd name="T2" fmla="*/ 26 w 70"/>
                <a:gd name="T3" fmla="*/ 5 h 89"/>
                <a:gd name="T4" fmla="*/ 17 w 70"/>
                <a:gd name="T5" fmla="*/ 14 h 89"/>
                <a:gd name="T6" fmla="*/ 17 w 70"/>
                <a:gd name="T7" fmla="*/ 2 h 89"/>
                <a:gd name="T8" fmla="*/ 0 w 70"/>
                <a:gd name="T9" fmla="*/ 2 h 89"/>
                <a:gd name="T10" fmla="*/ 0 w 70"/>
                <a:gd name="T11" fmla="*/ 89 h 89"/>
                <a:gd name="T12" fmla="*/ 17 w 70"/>
                <a:gd name="T13" fmla="*/ 89 h 89"/>
                <a:gd name="T14" fmla="*/ 17 w 70"/>
                <a:gd name="T15" fmla="*/ 34 h 89"/>
                <a:gd name="T16" fmla="*/ 22 w 70"/>
                <a:gd name="T17" fmla="*/ 21 h 89"/>
                <a:gd name="T18" fmla="*/ 35 w 70"/>
                <a:gd name="T19" fmla="*/ 17 h 89"/>
                <a:gd name="T20" fmla="*/ 48 w 70"/>
                <a:gd name="T21" fmla="*/ 22 h 89"/>
                <a:gd name="T22" fmla="*/ 53 w 70"/>
                <a:gd name="T23" fmla="*/ 36 h 89"/>
                <a:gd name="T24" fmla="*/ 53 w 70"/>
                <a:gd name="T25" fmla="*/ 89 h 89"/>
                <a:gd name="T26" fmla="*/ 70 w 70"/>
                <a:gd name="T27" fmla="*/ 89 h 89"/>
                <a:gd name="T28" fmla="*/ 70 w 70"/>
                <a:gd name="T29" fmla="*/ 36 h 89"/>
                <a:gd name="T30" fmla="*/ 62 w 70"/>
                <a:gd name="T31" fmla="*/ 10 h 89"/>
                <a:gd name="T32" fmla="*/ 40 w 70"/>
                <a:gd name="T3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89">
                  <a:moveTo>
                    <a:pt x="40" y="0"/>
                  </a:moveTo>
                  <a:cubicBezTo>
                    <a:pt x="35" y="0"/>
                    <a:pt x="30" y="2"/>
                    <a:pt x="26" y="5"/>
                  </a:cubicBezTo>
                  <a:cubicBezTo>
                    <a:pt x="22" y="7"/>
                    <a:pt x="20" y="10"/>
                    <a:pt x="17" y="14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28"/>
                    <a:pt x="19" y="24"/>
                    <a:pt x="22" y="21"/>
                  </a:cubicBezTo>
                  <a:cubicBezTo>
                    <a:pt x="25" y="18"/>
                    <a:pt x="29" y="17"/>
                    <a:pt x="35" y="17"/>
                  </a:cubicBezTo>
                  <a:cubicBezTo>
                    <a:pt x="40" y="17"/>
                    <a:pt x="45" y="18"/>
                    <a:pt x="48" y="22"/>
                  </a:cubicBezTo>
                  <a:cubicBezTo>
                    <a:pt x="51" y="25"/>
                    <a:pt x="53" y="30"/>
                    <a:pt x="53" y="36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0" y="25"/>
                    <a:pt x="67" y="16"/>
                    <a:pt x="62" y="10"/>
                  </a:cubicBezTo>
                  <a:cubicBezTo>
                    <a:pt x="57" y="3"/>
                    <a:pt x="50" y="0"/>
                    <a:pt x="40" y="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24" name="Rectangle 11"/>
            <p:cNvSpPr>
              <a:spLocks noChangeArrowheads="1"/>
            </p:cNvSpPr>
            <p:nvPr/>
          </p:nvSpPr>
          <p:spPr bwMode="auto">
            <a:xfrm>
              <a:off x="1963017" y="2283444"/>
              <a:ext cx="14157" cy="74324"/>
            </a:xfrm>
            <a:prstGeom prst="rect">
              <a:avLst/>
            </a:pr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25" name="Freeform 12"/>
            <p:cNvSpPr>
              <a:spLocks/>
            </p:cNvSpPr>
            <p:nvPr/>
          </p:nvSpPr>
          <p:spPr bwMode="auto">
            <a:xfrm>
              <a:off x="2024953" y="2281674"/>
              <a:ext cx="58397" cy="76093"/>
            </a:xfrm>
            <a:custGeom>
              <a:avLst/>
              <a:gdLst>
                <a:gd name="T0" fmla="*/ 40 w 70"/>
                <a:gd name="T1" fmla="*/ 0 h 89"/>
                <a:gd name="T2" fmla="*/ 26 w 70"/>
                <a:gd name="T3" fmla="*/ 5 h 89"/>
                <a:gd name="T4" fmla="*/ 17 w 70"/>
                <a:gd name="T5" fmla="*/ 14 h 89"/>
                <a:gd name="T6" fmla="*/ 17 w 70"/>
                <a:gd name="T7" fmla="*/ 2 h 89"/>
                <a:gd name="T8" fmla="*/ 0 w 70"/>
                <a:gd name="T9" fmla="*/ 2 h 89"/>
                <a:gd name="T10" fmla="*/ 0 w 70"/>
                <a:gd name="T11" fmla="*/ 89 h 89"/>
                <a:gd name="T12" fmla="*/ 17 w 70"/>
                <a:gd name="T13" fmla="*/ 89 h 89"/>
                <a:gd name="T14" fmla="*/ 17 w 70"/>
                <a:gd name="T15" fmla="*/ 34 h 89"/>
                <a:gd name="T16" fmla="*/ 21 w 70"/>
                <a:gd name="T17" fmla="*/ 21 h 89"/>
                <a:gd name="T18" fmla="*/ 34 w 70"/>
                <a:gd name="T19" fmla="*/ 17 h 89"/>
                <a:gd name="T20" fmla="*/ 48 w 70"/>
                <a:gd name="T21" fmla="*/ 22 h 89"/>
                <a:gd name="T22" fmla="*/ 53 w 70"/>
                <a:gd name="T23" fmla="*/ 36 h 89"/>
                <a:gd name="T24" fmla="*/ 53 w 70"/>
                <a:gd name="T25" fmla="*/ 89 h 89"/>
                <a:gd name="T26" fmla="*/ 70 w 70"/>
                <a:gd name="T27" fmla="*/ 89 h 89"/>
                <a:gd name="T28" fmla="*/ 70 w 70"/>
                <a:gd name="T29" fmla="*/ 36 h 89"/>
                <a:gd name="T30" fmla="*/ 62 w 70"/>
                <a:gd name="T31" fmla="*/ 10 h 89"/>
                <a:gd name="T32" fmla="*/ 40 w 70"/>
                <a:gd name="T3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89">
                  <a:moveTo>
                    <a:pt x="40" y="0"/>
                  </a:moveTo>
                  <a:cubicBezTo>
                    <a:pt x="35" y="0"/>
                    <a:pt x="30" y="2"/>
                    <a:pt x="26" y="5"/>
                  </a:cubicBezTo>
                  <a:cubicBezTo>
                    <a:pt x="22" y="7"/>
                    <a:pt x="19" y="10"/>
                    <a:pt x="17" y="14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28"/>
                    <a:pt x="18" y="24"/>
                    <a:pt x="21" y="21"/>
                  </a:cubicBezTo>
                  <a:cubicBezTo>
                    <a:pt x="25" y="18"/>
                    <a:pt x="29" y="17"/>
                    <a:pt x="34" y="17"/>
                  </a:cubicBezTo>
                  <a:cubicBezTo>
                    <a:pt x="40" y="17"/>
                    <a:pt x="45" y="18"/>
                    <a:pt x="48" y="22"/>
                  </a:cubicBezTo>
                  <a:cubicBezTo>
                    <a:pt x="51" y="25"/>
                    <a:pt x="53" y="30"/>
                    <a:pt x="53" y="36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0" y="25"/>
                    <a:pt x="67" y="16"/>
                    <a:pt x="62" y="10"/>
                  </a:cubicBezTo>
                  <a:cubicBezTo>
                    <a:pt x="57" y="3"/>
                    <a:pt x="49" y="0"/>
                    <a:pt x="40" y="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26" name="Freeform 13"/>
            <p:cNvSpPr>
              <a:spLocks noEditPoints="1"/>
            </p:cNvSpPr>
            <p:nvPr/>
          </p:nvSpPr>
          <p:spPr bwMode="auto">
            <a:xfrm>
              <a:off x="2128652" y="2281674"/>
              <a:ext cx="57689" cy="105823"/>
            </a:xfrm>
            <a:custGeom>
              <a:avLst/>
              <a:gdLst>
                <a:gd name="T0" fmla="*/ 52 w 69"/>
                <a:gd name="T1" fmla="*/ 13 h 124"/>
                <a:gd name="T2" fmla="*/ 43 w 69"/>
                <a:gd name="T3" fmla="*/ 4 h 124"/>
                <a:gd name="T4" fmla="*/ 29 w 69"/>
                <a:gd name="T5" fmla="*/ 0 h 124"/>
                <a:gd name="T6" fmla="*/ 14 w 69"/>
                <a:gd name="T7" fmla="*/ 4 h 124"/>
                <a:gd name="T8" fmla="*/ 4 w 69"/>
                <a:gd name="T9" fmla="*/ 16 h 124"/>
                <a:gd name="T10" fmla="*/ 0 w 69"/>
                <a:gd name="T11" fmla="*/ 36 h 124"/>
                <a:gd name="T12" fmla="*/ 0 w 69"/>
                <a:gd name="T13" fmla="*/ 55 h 124"/>
                <a:gd name="T14" fmla="*/ 4 w 69"/>
                <a:gd name="T15" fmla="*/ 74 h 124"/>
                <a:gd name="T16" fmla="*/ 14 w 69"/>
                <a:gd name="T17" fmla="*/ 86 h 124"/>
                <a:gd name="T18" fmla="*/ 30 w 69"/>
                <a:gd name="T19" fmla="*/ 90 h 124"/>
                <a:gd name="T20" fmla="*/ 45 w 69"/>
                <a:gd name="T21" fmla="*/ 86 h 124"/>
                <a:gd name="T22" fmla="*/ 52 w 69"/>
                <a:gd name="T23" fmla="*/ 77 h 124"/>
                <a:gd name="T24" fmla="*/ 52 w 69"/>
                <a:gd name="T25" fmla="*/ 89 h 124"/>
                <a:gd name="T26" fmla="*/ 47 w 69"/>
                <a:gd name="T27" fmla="*/ 104 h 124"/>
                <a:gd name="T28" fmla="*/ 32 w 69"/>
                <a:gd name="T29" fmla="*/ 109 h 124"/>
                <a:gd name="T30" fmla="*/ 22 w 69"/>
                <a:gd name="T31" fmla="*/ 107 h 124"/>
                <a:gd name="T32" fmla="*/ 14 w 69"/>
                <a:gd name="T33" fmla="*/ 100 h 124"/>
                <a:gd name="T34" fmla="*/ 2 w 69"/>
                <a:gd name="T35" fmla="*/ 110 h 124"/>
                <a:gd name="T36" fmla="*/ 14 w 69"/>
                <a:gd name="T37" fmla="*/ 120 h 124"/>
                <a:gd name="T38" fmla="*/ 22 w 69"/>
                <a:gd name="T39" fmla="*/ 124 h 124"/>
                <a:gd name="T40" fmla="*/ 32 w 69"/>
                <a:gd name="T41" fmla="*/ 124 h 124"/>
                <a:gd name="T42" fmla="*/ 52 w 69"/>
                <a:gd name="T43" fmla="*/ 120 h 124"/>
                <a:gd name="T44" fmla="*/ 65 w 69"/>
                <a:gd name="T45" fmla="*/ 107 h 124"/>
                <a:gd name="T46" fmla="*/ 69 w 69"/>
                <a:gd name="T47" fmla="*/ 86 h 124"/>
                <a:gd name="T48" fmla="*/ 69 w 69"/>
                <a:gd name="T49" fmla="*/ 2 h 124"/>
                <a:gd name="T50" fmla="*/ 52 w 69"/>
                <a:gd name="T51" fmla="*/ 2 h 124"/>
                <a:gd name="T52" fmla="*/ 52 w 69"/>
                <a:gd name="T53" fmla="*/ 13 h 124"/>
                <a:gd name="T54" fmla="*/ 50 w 69"/>
                <a:gd name="T55" fmla="*/ 66 h 124"/>
                <a:gd name="T56" fmla="*/ 44 w 69"/>
                <a:gd name="T57" fmla="*/ 72 h 124"/>
                <a:gd name="T58" fmla="*/ 35 w 69"/>
                <a:gd name="T59" fmla="*/ 75 h 124"/>
                <a:gd name="T60" fmla="*/ 22 w 69"/>
                <a:gd name="T61" fmla="*/ 69 h 124"/>
                <a:gd name="T62" fmla="*/ 17 w 69"/>
                <a:gd name="T63" fmla="*/ 55 h 124"/>
                <a:gd name="T64" fmla="*/ 17 w 69"/>
                <a:gd name="T65" fmla="*/ 36 h 124"/>
                <a:gd name="T66" fmla="*/ 22 w 69"/>
                <a:gd name="T67" fmla="*/ 21 h 124"/>
                <a:gd name="T68" fmla="*/ 35 w 69"/>
                <a:gd name="T69" fmla="*/ 16 h 124"/>
                <a:gd name="T70" fmla="*/ 44 w 69"/>
                <a:gd name="T71" fmla="*/ 18 h 124"/>
                <a:gd name="T72" fmla="*/ 50 w 69"/>
                <a:gd name="T73" fmla="*/ 24 h 124"/>
                <a:gd name="T74" fmla="*/ 52 w 69"/>
                <a:gd name="T75" fmla="*/ 33 h 124"/>
                <a:gd name="T76" fmla="*/ 52 w 69"/>
                <a:gd name="T77" fmla="*/ 57 h 124"/>
                <a:gd name="T78" fmla="*/ 50 w 69"/>
                <a:gd name="T79" fmla="*/ 6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9" h="124">
                  <a:moveTo>
                    <a:pt x="52" y="13"/>
                  </a:moveTo>
                  <a:cubicBezTo>
                    <a:pt x="50" y="9"/>
                    <a:pt x="47" y="6"/>
                    <a:pt x="43" y="4"/>
                  </a:cubicBezTo>
                  <a:cubicBezTo>
                    <a:pt x="39" y="1"/>
                    <a:pt x="35" y="0"/>
                    <a:pt x="29" y="0"/>
                  </a:cubicBezTo>
                  <a:cubicBezTo>
                    <a:pt x="23" y="0"/>
                    <a:pt x="18" y="1"/>
                    <a:pt x="14" y="4"/>
                  </a:cubicBezTo>
                  <a:cubicBezTo>
                    <a:pt x="9" y="7"/>
                    <a:pt x="6" y="11"/>
                    <a:pt x="4" y="16"/>
                  </a:cubicBezTo>
                  <a:cubicBezTo>
                    <a:pt x="1" y="22"/>
                    <a:pt x="0" y="28"/>
                    <a:pt x="0" y="36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2"/>
                    <a:pt x="1" y="69"/>
                    <a:pt x="4" y="74"/>
                  </a:cubicBezTo>
                  <a:cubicBezTo>
                    <a:pt x="6" y="79"/>
                    <a:pt x="9" y="83"/>
                    <a:pt x="14" y="86"/>
                  </a:cubicBezTo>
                  <a:cubicBezTo>
                    <a:pt x="18" y="89"/>
                    <a:pt x="24" y="90"/>
                    <a:pt x="30" y="90"/>
                  </a:cubicBezTo>
                  <a:cubicBezTo>
                    <a:pt x="36" y="90"/>
                    <a:pt x="41" y="89"/>
                    <a:pt x="45" y="86"/>
                  </a:cubicBezTo>
                  <a:cubicBezTo>
                    <a:pt x="48" y="83"/>
                    <a:pt x="50" y="80"/>
                    <a:pt x="52" y="77"/>
                  </a:cubicBezTo>
                  <a:cubicBezTo>
                    <a:pt x="52" y="89"/>
                    <a:pt x="52" y="89"/>
                    <a:pt x="52" y="89"/>
                  </a:cubicBezTo>
                  <a:cubicBezTo>
                    <a:pt x="52" y="95"/>
                    <a:pt x="50" y="100"/>
                    <a:pt x="47" y="104"/>
                  </a:cubicBezTo>
                  <a:cubicBezTo>
                    <a:pt x="43" y="107"/>
                    <a:pt x="38" y="109"/>
                    <a:pt x="32" y="109"/>
                  </a:cubicBezTo>
                  <a:cubicBezTo>
                    <a:pt x="28" y="109"/>
                    <a:pt x="25" y="108"/>
                    <a:pt x="22" y="107"/>
                  </a:cubicBezTo>
                  <a:cubicBezTo>
                    <a:pt x="19" y="105"/>
                    <a:pt x="16" y="103"/>
                    <a:pt x="14" y="100"/>
                  </a:cubicBezTo>
                  <a:cubicBezTo>
                    <a:pt x="2" y="110"/>
                    <a:pt x="2" y="110"/>
                    <a:pt x="2" y="110"/>
                  </a:cubicBezTo>
                  <a:cubicBezTo>
                    <a:pt x="5" y="115"/>
                    <a:pt x="9" y="118"/>
                    <a:pt x="14" y="120"/>
                  </a:cubicBezTo>
                  <a:cubicBezTo>
                    <a:pt x="19" y="123"/>
                    <a:pt x="22" y="124"/>
                    <a:pt x="22" y="124"/>
                  </a:cubicBezTo>
                  <a:cubicBezTo>
                    <a:pt x="22" y="124"/>
                    <a:pt x="25" y="124"/>
                    <a:pt x="32" y="124"/>
                  </a:cubicBezTo>
                  <a:cubicBezTo>
                    <a:pt x="40" y="124"/>
                    <a:pt x="46" y="123"/>
                    <a:pt x="52" y="120"/>
                  </a:cubicBezTo>
                  <a:cubicBezTo>
                    <a:pt x="58" y="117"/>
                    <a:pt x="62" y="112"/>
                    <a:pt x="65" y="107"/>
                  </a:cubicBezTo>
                  <a:cubicBezTo>
                    <a:pt x="68" y="101"/>
                    <a:pt x="69" y="94"/>
                    <a:pt x="69" y="86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52" y="2"/>
                    <a:pt x="52" y="2"/>
                    <a:pt x="52" y="2"/>
                  </a:cubicBezTo>
                  <a:lnTo>
                    <a:pt x="52" y="13"/>
                  </a:lnTo>
                  <a:close/>
                  <a:moveTo>
                    <a:pt x="50" y="66"/>
                  </a:moveTo>
                  <a:cubicBezTo>
                    <a:pt x="49" y="69"/>
                    <a:pt x="47" y="71"/>
                    <a:pt x="44" y="72"/>
                  </a:cubicBezTo>
                  <a:cubicBezTo>
                    <a:pt x="42" y="74"/>
                    <a:pt x="39" y="75"/>
                    <a:pt x="35" y="75"/>
                  </a:cubicBezTo>
                  <a:cubicBezTo>
                    <a:pt x="29" y="75"/>
                    <a:pt x="25" y="73"/>
                    <a:pt x="22" y="69"/>
                  </a:cubicBezTo>
                  <a:cubicBezTo>
                    <a:pt x="19" y="66"/>
                    <a:pt x="17" y="61"/>
                    <a:pt x="17" y="55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29"/>
                    <a:pt x="19" y="25"/>
                    <a:pt x="22" y="21"/>
                  </a:cubicBezTo>
                  <a:cubicBezTo>
                    <a:pt x="25" y="17"/>
                    <a:pt x="29" y="16"/>
                    <a:pt x="35" y="16"/>
                  </a:cubicBezTo>
                  <a:cubicBezTo>
                    <a:pt x="39" y="16"/>
                    <a:pt x="42" y="16"/>
                    <a:pt x="44" y="18"/>
                  </a:cubicBezTo>
                  <a:cubicBezTo>
                    <a:pt x="47" y="19"/>
                    <a:pt x="49" y="21"/>
                    <a:pt x="50" y="24"/>
                  </a:cubicBezTo>
                  <a:cubicBezTo>
                    <a:pt x="51" y="26"/>
                    <a:pt x="52" y="30"/>
                    <a:pt x="52" y="33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2" y="60"/>
                    <a:pt x="51" y="64"/>
                    <a:pt x="50" y="66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27" name="Freeform 14"/>
            <p:cNvSpPr>
              <a:spLocks noEditPoints="1"/>
            </p:cNvSpPr>
            <p:nvPr/>
          </p:nvSpPr>
          <p:spPr bwMode="auto">
            <a:xfrm>
              <a:off x="2282962" y="2253006"/>
              <a:ext cx="81756" cy="105469"/>
            </a:xfrm>
            <a:custGeom>
              <a:avLst/>
              <a:gdLst>
                <a:gd name="T0" fmla="*/ 83 w 98"/>
                <a:gd name="T1" fmla="*/ 95 h 124"/>
                <a:gd name="T2" fmla="*/ 89 w 98"/>
                <a:gd name="T3" fmla="*/ 61 h 124"/>
                <a:gd name="T4" fmla="*/ 73 w 98"/>
                <a:gd name="T5" fmla="*/ 61 h 124"/>
                <a:gd name="T6" fmla="*/ 69 w 98"/>
                <a:gd name="T7" fmla="*/ 87 h 124"/>
                <a:gd name="T8" fmla="*/ 67 w 98"/>
                <a:gd name="T9" fmla="*/ 90 h 124"/>
                <a:gd name="T10" fmla="*/ 43 w 98"/>
                <a:gd name="T11" fmla="*/ 63 h 124"/>
                <a:gd name="T12" fmla="*/ 35 w 98"/>
                <a:gd name="T13" fmla="*/ 54 h 124"/>
                <a:gd name="T14" fmla="*/ 30 w 98"/>
                <a:gd name="T15" fmla="*/ 43 h 124"/>
                <a:gd name="T16" fmla="*/ 29 w 98"/>
                <a:gd name="T17" fmla="*/ 33 h 124"/>
                <a:gd name="T18" fmla="*/ 33 w 98"/>
                <a:gd name="T19" fmla="*/ 21 h 124"/>
                <a:gd name="T20" fmla="*/ 44 w 98"/>
                <a:gd name="T21" fmla="*/ 16 h 124"/>
                <a:gd name="T22" fmla="*/ 56 w 98"/>
                <a:gd name="T23" fmla="*/ 20 h 124"/>
                <a:gd name="T24" fmla="*/ 60 w 98"/>
                <a:gd name="T25" fmla="*/ 32 h 124"/>
                <a:gd name="T26" fmla="*/ 60 w 98"/>
                <a:gd name="T27" fmla="*/ 34 h 124"/>
                <a:gd name="T28" fmla="*/ 77 w 98"/>
                <a:gd name="T29" fmla="*/ 34 h 124"/>
                <a:gd name="T30" fmla="*/ 77 w 98"/>
                <a:gd name="T31" fmla="*/ 32 h 124"/>
                <a:gd name="T32" fmla="*/ 68 w 98"/>
                <a:gd name="T33" fmla="*/ 8 h 124"/>
                <a:gd name="T34" fmla="*/ 44 w 98"/>
                <a:gd name="T35" fmla="*/ 0 h 124"/>
                <a:gd name="T36" fmla="*/ 20 w 98"/>
                <a:gd name="T37" fmla="*/ 8 h 124"/>
                <a:gd name="T38" fmla="*/ 12 w 98"/>
                <a:gd name="T39" fmla="*/ 33 h 124"/>
                <a:gd name="T40" fmla="*/ 14 w 98"/>
                <a:gd name="T41" fmla="*/ 48 h 124"/>
                <a:gd name="T42" fmla="*/ 18 w 98"/>
                <a:gd name="T43" fmla="*/ 58 h 124"/>
                <a:gd name="T44" fmla="*/ 8 w 98"/>
                <a:gd name="T45" fmla="*/ 65 h 124"/>
                <a:gd name="T46" fmla="*/ 0 w 98"/>
                <a:gd name="T47" fmla="*/ 89 h 124"/>
                <a:gd name="T48" fmla="*/ 4 w 98"/>
                <a:gd name="T49" fmla="*/ 108 h 124"/>
                <a:gd name="T50" fmla="*/ 16 w 98"/>
                <a:gd name="T51" fmla="*/ 120 h 124"/>
                <a:gd name="T52" fmla="*/ 36 w 98"/>
                <a:gd name="T53" fmla="*/ 124 h 124"/>
                <a:gd name="T54" fmla="*/ 65 w 98"/>
                <a:gd name="T55" fmla="*/ 116 h 124"/>
                <a:gd name="T56" fmla="*/ 68 w 98"/>
                <a:gd name="T57" fmla="*/ 114 h 124"/>
                <a:gd name="T58" fmla="*/ 77 w 98"/>
                <a:gd name="T59" fmla="*/ 123 h 124"/>
                <a:gd name="T60" fmla="*/ 98 w 98"/>
                <a:gd name="T61" fmla="*/ 123 h 124"/>
                <a:gd name="T62" fmla="*/ 79 w 98"/>
                <a:gd name="T63" fmla="*/ 102 h 124"/>
                <a:gd name="T64" fmla="*/ 83 w 98"/>
                <a:gd name="T65" fmla="*/ 95 h 124"/>
                <a:gd name="T66" fmla="*/ 58 w 98"/>
                <a:gd name="T67" fmla="*/ 103 h 124"/>
                <a:gd name="T68" fmla="*/ 40 w 98"/>
                <a:gd name="T69" fmla="*/ 109 h 124"/>
                <a:gd name="T70" fmla="*/ 22 w 98"/>
                <a:gd name="T71" fmla="*/ 103 h 124"/>
                <a:gd name="T72" fmla="*/ 16 w 98"/>
                <a:gd name="T73" fmla="*/ 89 h 124"/>
                <a:gd name="T74" fmla="*/ 22 w 98"/>
                <a:gd name="T75" fmla="*/ 74 h 124"/>
                <a:gd name="T76" fmla="*/ 28 w 98"/>
                <a:gd name="T77" fmla="*/ 71 h 124"/>
                <a:gd name="T78" fmla="*/ 30 w 98"/>
                <a:gd name="T79" fmla="*/ 74 h 124"/>
                <a:gd name="T80" fmla="*/ 58 w 98"/>
                <a:gd name="T81" fmla="*/ 103 h 124"/>
                <a:gd name="T82" fmla="*/ 58 w 98"/>
                <a:gd name="T83" fmla="*/ 10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8" h="124">
                  <a:moveTo>
                    <a:pt x="83" y="95"/>
                  </a:moveTo>
                  <a:cubicBezTo>
                    <a:pt x="87" y="86"/>
                    <a:pt x="89" y="74"/>
                    <a:pt x="89" y="61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3" y="71"/>
                    <a:pt x="72" y="80"/>
                    <a:pt x="69" y="87"/>
                  </a:cubicBezTo>
                  <a:cubicBezTo>
                    <a:pt x="69" y="88"/>
                    <a:pt x="68" y="89"/>
                    <a:pt x="67" y="90"/>
                  </a:cubicBezTo>
                  <a:cubicBezTo>
                    <a:pt x="43" y="63"/>
                    <a:pt x="43" y="63"/>
                    <a:pt x="43" y="63"/>
                  </a:cubicBezTo>
                  <a:cubicBezTo>
                    <a:pt x="40" y="60"/>
                    <a:pt x="37" y="57"/>
                    <a:pt x="35" y="54"/>
                  </a:cubicBezTo>
                  <a:cubicBezTo>
                    <a:pt x="33" y="50"/>
                    <a:pt x="31" y="47"/>
                    <a:pt x="30" y="43"/>
                  </a:cubicBezTo>
                  <a:cubicBezTo>
                    <a:pt x="29" y="40"/>
                    <a:pt x="29" y="37"/>
                    <a:pt x="29" y="33"/>
                  </a:cubicBezTo>
                  <a:cubicBezTo>
                    <a:pt x="29" y="28"/>
                    <a:pt x="30" y="24"/>
                    <a:pt x="33" y="21"/>
                  </a:cubicBezTo>
                  <a:cubicBezTo>
                    <a:pt x="36" y="18"/>
                    <a:pt x="39" y="16"/>
                    <a:pt x="44" y="16"/>
                  </a:cubicBezTo>
                  <a:cubicBezTo>
                    <a:pt x="49" y="16"/>
                    <a:pt x="53" y="18"/>
                    <a:pt x="56" y="20"/>
                  </a:cubicBezTo>
                  <a:cubicBezTo>
                    <a:pt x="58" y="23"/>
                    <a:pt x="60" y="27"/>
                    <a:pt x="60" y="32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77" y="34"/>
                    <a:pt x="77" y="34"/>
                    <a:pt x="77" y="34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77" y="22"/>
                    <a:pt x="74" y="14"/>
                    <a:pt x="68" y="8"/>
                  </a:cubicBezTo>
                  <a:cubicBezTo>
                    <a:pt x="63" y="3"/>
                    <a:pt x="55" y="0"/>
                    <a:pt x="44" y="0"/>
                  </a:cubicBezTo>
                  <a:cubicBezTo>
                    <a:pt x="34" y="0"/>
                    <a:pt x="26" y="3"/>
                    <a:pt x="20" y="8"/>
                  </a:cubicBezTo>
                  <a:cubicBezTo>
                    <a:pt x="15" y="14"/>
                    <a:pt x="12" y="23"/>
                    <a:pt x="12" y="33"/>
                  </a:cubicBezTo>
                  <a:cubicBezTo>
                    <a:pt x="12" y="38"/>
                    <a:pt x="12" y="43"/>
                    <a:pt x="14" y="48"/>
                  </a:cubicBezTo>
                  <a:cubicBezTo>
                    <a:pt x="15" y="51"/>
                    <a:pt x="16" y="55"/>
                    <a:pt x="18" y="58"/>
                  </a:cubicBezTo>
                  <a:cubicBezTo>
                    <a:pt x="14" y="60"/>
                    <a:pt x="11" y="62"/>
                    <a:pt x="8" y="65"/>
                  </a:cubicBezTo>
                  <a:cubicBezTo>
                    <a:pt x="3" y="71"/>
                    <a:pt x="0" y="79"/>
                    <a:pt x="0" y="89"/>
                  </a:cubicBezTo>
                  <a:cubicBezTo>
                    <a:pt x="0" y="96"/>
                    <a:pt x="1" y="103"/>
                    <a:pt x="4" y="108"/>
                  </a:cubicBezTo>
                  <a:cubicBezTo>
                    <a:pt x="7" y="113"/>
                    <a:pt x="11" y="117"/>
                    <a:pt x="16" y="120"/>
                  </a:cubicBezTo>
                  <a:cubicBezTo>
                    <a:pt x="22" y="123"/>
                    <a:pt x="28" y="124"/>
                    <a:pt x="36" y="124"/>
                  </a:cubicBezTo>
                  <a:cubicBezTo>
                    <a:pt x="47" y="124"/>
                    <a:pt x="57" y="121"/>
                    <a:pt x="65" y="116"/>
                  </a:cubicBezTo>
                  <a:cubicBezTo>
                    <a:pt x="66" y="116"/>
                    <a:pt x="67" y="115"/>
                    <a:pt x="68" y="114"/>
                  </a:cubicBezTo>
                  <a:cubicBezTo>
                    <a:pt x="77" y="123"/>
                    <a:pt x="77" y="123"/>
                    <a:pt x="77" y="123"/>
                  </a:cubicBezTo>
                  <a:cubicBezTo>
                    <a:pt x="98" y="123"/>
                    <a:pt x="98" y="123"/>
                    <a:pt x="98" y="123"/>
                  </a:cubicBezTo>
                  <a:cubicBezTo>
                    <a:pt x="79" y="102"/>
                    <a:pt x="79" y="102"/>
                    <a:pt x="79" y="102"/>
                  </a:cubicBezTo>
                  <a:cubicBezTo>
                    <a:pt x="80" y="100"/>
                    <a:pt x="82" y="98"/>
                    <a:pt x="83" y="95"/>
                  </a:cubicBezTo>
                  <a:close/>
                  <a:moveTo>
                    <a:pt x="58" y="103"/>
                  </a:moveTo>
                  <a:cubicBezTo>
                    <a:pt x="53" y="107"/>
                    <a:pt x="47" y="109"/>
                    <a:pt x="40" y="109"/>
                  </a:cubicBezTo>
                  <a:cubicBezTo>
                    <a:pt x="32" y="109"/>
                    <a:pt x="27" y="107"/>
                    <a:pt x="22" y="103"/>
                  </a:cubicBezTo>
                  <a:cubicBezTo>
                    <a:pt x="18" y="100"/>
                    <a:pt x="16" y="95"/>
                    <a:pt x="16" y="89"/>
                  </a:cubicBezTo>
                  <a:cubicBezTo>
                    <a:pt x="16" y="83"/>
                    <a:pt x="18" y="78"/>
                    <a:pt x="22" y="74"/>
                  </a:cubicBezTo>
                  <a:cubicBezTo>
                    <a:pt x="24" y="73"/>
                    <a:pt x="26" y="72"/>
                    <a:pt x="28" y="71"/>
                  </a:cubicBezTo>
                  <a:cubicBezTo>
                    <a:pt x="28" y="72"/>
                    <a:pt x="29" y="73"/>
                    <a:pt x="30" y="74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58" y="103"/>
                    <a:pt x="58" y="103"/>
                    <a:pt x="58" y="103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28" name="Freeform 15"/>
            <p:cNvSpPr>
              <a:spLocks/>
            </p:cNvSpPr>
            <p:nvPr/>
          </p:nvSpPr>
          <p:spPr bwMode="auto">
            <a:xfrm>
              <a:off x="2462046" y="2281674"/>
              <a:ext cx="57689" cy="76801"/>
            </a:xfrm>
            <a:custGeom>
              <a:avLst/>
              <a:gdLst>
                <a:gd name="T0" fmla="*/ 22 w 69"/>
                <a:gd name="T1" fmla="*/ 22 h 90"/>
                <a:gd name="T2" fmla="*/ 37 w 69"/>
                <a:gd name="T3" fmla="*/ 17 h 90"/>
                <a:gd name="T4" fmla="*/ 48 w 69"/>
                <a:gd name="T5" fmla="*/ 19 h 90"/>
                <a:gd name="T6" fmla="*/ 56 w 69"/>
                <a:gd name="T7" fmla="*/ 25 h 90"/>
                <a:gd name="T8" fmla="*/ 69 w 69"/>
                <a:gd name="T9" fmla="*/ 14 h 90"/>
                <a:gd name="T10" fmla="*/ 61 w 69"/>
                <a:gd name="T11" fmla="*/ 7 h 90"/>
                <a:gd name="T12" fmla="*/ 50 w 69"/>
                <a:gd name="T13" fmla="*/ 2 h 90"/>
                <a:gd name="T14" fmla="*/ 37 w 69"/>
                <a:gd name="T15" fmla="*/ 0 h 90"/>
                <a:gd name="T16" fmla="*/ 17 w 69"/>
                <a:gd name="T17" fmla="*/ 5 h 90"/>
                <a:gd name="T18" fmla="*/ 4 w 69"/>
                <a:gd name="T19" fmla="*/ 18 h 90"/>
                <a:gd name="T20" fmla="*/ 0 w 69"/>
                <a:gd name="T21" fmla="*/ 38 h 90"/>
                <a:gd name="T22" fmla="*/ 0 w 69"/>
                <a:gd name="T23" fmla="*/ 52 h 90"/>
                <a:gd name="T24" fmla="*/ 4 w 69"/>
                <a:gd name="T25" fmla="*/ 73 h 90"/>
                <a:gd name="T26" fmla="*/ 17 w 69"/>
                <a:gd name="T27" fmla="*/ 85 h 90"/>
                <a:gd name="T28" fmla="*/ 25 w 69"/>
                <a:gd name="T29" fmla="*/ 90 h 90"/>
                <a:gd name="T30" fmla="*/ 37 w 69"/>
                <a:gd name="T31" fmla="*/ 90 h 90"/>
                <a:gd name="T32" fmla="*/ 50 w 69"/>
                <a:gd name="T33" fmla="*/ 88 h 90"/>
                <a:gd name="T34" fmla="*/ 61 w 69"/>
                <a:gd name="T35" fmla="*/ 84 h 90"/>
                <a:gd name="T36" fmla="*/ 69 w 69"/>
                <a:gd name="T37" fmla="*/ 76 h 90"/>
                <a:gd name="T38" fmla="*/ 56 w 69"/>
                <a:gd name="T39" fmla="*/ 64 h 90"/>
                <a:gd name="T40" fmla="*/ 48 w 69"/>
                <a:gd name="T41" fmla="*/ 71 h 90"/>
                <a:gd name="T42" fmla="*/ 37 w 69"/>
                <a:gd name="T43" fmla="*/ 74 h 90"/>
                <a:gd name="T44" fmla="*/ 22 w 69"/>
                <a:gd name="T45" fmla="*/ 68 h 90"/>
                <a:gd name="T46" fmla="*/ 17 w 69"/>
                <a:gd name="T47" fmla="*/ 52 h 90"/>
                <a:gd name="T48" fmla="*/ 17 w 69"/>
                <a:gd name="T49" fmla="*/ 38 h 90"/>
                <a:gd name="T50" fmla="*/ 22 w 69"/>
                <a:gd name="T51" fmla="*/ 2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9" h="90">
                  <a:moveTo>
                    <a:pt x="22" y="22"/>
                  </a:moveTo>
                  <a:cubicBezTo>
                    <a:pt x="26" y="18"/>
                    <a:pt x="31" y="17"/>
                    <a:pt x="37" y="17"/>
                  </a:cubicBezTo>
                  <a:cubicBezTo>
                    <a:pt x="41" y="17"/>
                    <a:pt x="44" y="17"/>
                    <a:pt x="48" y="19"/>
                  </a:cubicBezTo>
                  <a:cubicBezTo>
                    <a:pt x="51" y="20"/>
                    <a:pt x="54" y="23"/>
                    <a:pt x="56" y="25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7" y="11"/>
                    <a:pt x="64" y="9"/>
                    <a:pt x="61" y="7"/>
                  </a:cubicBezTo>
                  <a:cubicBezTo>
                    <a:pt x="58" y="5"/>
                    <a:pt x="54" y="3"/>
                    <a:pt x="50" y="2"/>
                  </a:cubicBezTo>
                  <a:cubicBezTo>
                    <a:pt x="46" y="1"/>
                    <a:pt x="42" y="0"/>
                    <a:pt x="37" y="0"/>
                  </a:cubicBezTo>
                  <a:cubicBezTo>
                    <a:pt x="29" y="0"/>
                    <a:pt x="22" y="2"/>
                    <a:pt x="17" y="5"/>
                  </a:cubicBezTo>
                  <a:cubicBezTo>
                    <a:pt x="11" y="8"/>
                    <a:pt x="7" y="12"/>
                    <a:pt x="4" y="18"/>
                  </a:cubicBezTo>
                  <a:cubicBezTo>
                    <a:pt x="1" y="23"/>
                    <a:pt x="0" y="30"/>
                    <a:pt x="0" y="38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60"/>
                    <a:pt x="1" y="67"/>
                    <a:pt x="4" y="73"/>
                  </a:cubicBezTo>
                  <a:cubicBezTo>
                    <a:pt x="7" y="78"/>
                    <a:pt x="11" y="82"/>
                    <a:pt x="17" y="85"/>
                  </a:cubicBezTo>
                  <a:cubicBezTo>
                    <a:pt x="22" y="88"/>
                    <a:pt x="25" y="90"/>
                    <a:pt x="25" y="90"/>
                  </a:cubicBezTo>
                  <a:cubicBezTo>
                    <a:pt x="25" y="90"/>
                    <a:pt x="29" y="90"/>
                    <a:pt x="37" y="90"/>
                  </a:cubicBezTo>
                  <a:cubicBezTo>
                    <a:pt x="42" y="90"/>
                    <a:pt x="46" y="89"/>
                    <a:pt x="50" y="88"/>
                  </a:cubicBezTo>
                  <a:cubicBezTo>
                    <a:pt x="54" y="87"/>
                    <a:pt x="57" y="86"/>
                    <a:pt x="61" y="84"/>
                  </a:cubicBezTo>
                  <a:cubicBezTo>
                    <a:pt x="64" y="82"/>
                    <a:pt x="66" y="79"/>
                    <a:pt x="69" y="76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54" y="67"/>
                    <a:pt x="51" y="70"/>
                    <a:pt x="48" y="71"/>
                  </a:cubicBezTo>
                  <a:cubicBezTo>
                    <a:pt x="45" y="73"/>
                    <a:pt x="41" y="74"/>
                    <a:pt x="37" y="74"/>
                  </a:cubicBezTo>
                  <a:cubicBezTo>
                    <a:pt x="31" y="74"/>
                    <a:pt x="26" y="72"/>
                    <a:pt x="22" y="68"/>
                  </a:cubicBezTo>
                  <a:cubicBezTo>
                    <a:pt x="18" y="64"/>
                    <a:pt x="17" y="59"/>
                    <a:pt x="17" y="52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1"/>
                    <a:pt x="18" y="26"/>
                    <a:pt x="22" y="22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29" name="Freeform 16"/>
            <p:cNvSpPr>
              <a:spLocks noEditPoints="1"/>
            </p:cNvSpPr>
            <p:nvPr/>
          </p:nvSpPr>
          <p:spPr bwMode="auto">
            <a:xfrm>
              <a:off x="2559021" y="2281674"/>
              <a:ext cx="60521" cy="76801"/>
            </a:xfrm>
            <a:custGeom>
              <a:avLst/>
              <a:gdLst>
                <a:gd name="T0" fmla="*/ 55 w 72"/>
                <a:gd name="T1" fmla="*/ 5 h 90"/>
                <a:gd name="T2" fmla="*/ 36 w 72"/>
                <a:gd name="T3" fmla="*/ 0 h 90"/>
                <a:gd name="T4" fmla="*/ 16 w 72"/>
                <a:gd name="T5" fmla="*/ 5 h 90"/>
                <a:gd name="T6" fmla="*/ 4 w 72"/>
                <a:gd name="T7" fmla="*/ 18 h 90"/>
                <a:gd name="T8" fmla="*/ 0 w 72"/>
                <a:gd name="T9" fmla="*/ 38 h 90"/>
                <a:gd name="T10" fmla="*/ 0 w 72"/>
                <a:gd name="T11" fmla="*/ 52 h 90"/>
                <a:gd name="T12" fmla="*/ 4 w 72"/>
                <a:gd name="T13" fmla="*/ 73 h 90"/>
                <a:gd name="T14" fmla="*/ 16 w 72"/>
                <a:gd name="T15" fmla="*/ 85 h 90"/>
                <a:gd name="T16" fmla="*/ 36 w 72"/>
                <a:gd name="T17" fmla="*/ 90 h 90"/>
                <a:gd name="T18" fmla="*/ 55 w 72"/>
                <a:gd name="T19" fmla="*/ 85 h 90"/>
                <a:gd name="T20" fmla="*/ 67 w 72"/>
                <a:gd name="T21" fmla="*/ 73 h 90"/>
                <a:gd name="T22" fmla="*/ 72 w 72"/>
                <a:gd name="T23" fmla="*/ 52 h 90"/>
                <a:gd name="T24" fmla="*/ 72 w 72"/>
                <a:gd name="T25" fmla="*/ 38 h 90"/>
                <a:gd name="T26" fmla="*/ 67 w 72"/>
                <a:gd name="T27" fmla="*/ 18 h 90"/>
                <a:gd name="T28" fmla="*/ 55 w 72"/>
                <a:gd name="T29" fmla="*/ 5 h 90"/>
                <a:gd name="T30" fmla="*/ 55 w 72"/>
                <a:gd name="T31" fmla="*/ 52 h 90"/>
                <a:gd name="T32" fmla="*/ 50 w 72"/>
                <a:gd name="T33" fmla="*/ 68 h 90"/>
                <a:gd name="T34" fmla="*/ 36 w 72"/>
                <a:gd name="T35" fmla="*/ 74 h 90"/>
                <a:gd name="T36" fmla="*/ 22 w 72"/>
                <a:gd name="T37" fmla="*/ 68 h 90"/>
                <a:gd name="T38" fmla="*/ 17 w 72"/>
                <a:gd name="T39" fmla="*/ 52 h 90"/>
                <a:gd name="T40" fmla="*/ 17 w 72"/>
                <a:gd name="T41" fmla="*/ 38 h 90"/>
                <a:gd name="T42" fmla="*/ 22 w 72"/>
                <a:gd name="T43" fmla="*/ 22 h 90"/>
                <a:gd name="T44" fmla="*/ 36 w 72"/>
                <a:gd name="T45" fmla="*/ 17 h 90"/>
                <a:gd name="T46" fmla="*/ 50 w 72"/>
                <a:gd name="T47" fmla="*/ 22 h 90"/>
                <a:gd name="T48" fmla="*/ 55 w 72"/>
                <a:gd name="T49" fmla="*/ 38 h 90"/>
                <a:gd name="T50" fmla="*/ 55 w 72"/>
                <a:gd name="T51" fmla="*/ 5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2" h="90">
                  <a:moveTo>
                    <a:pt x="55" y="5"/>
                  </a:moveTo>
                  <a:cubicBezTo>
                    <a:pt x="50" y="2"/>
                    <a:pt x="43" y="0"/>
                    <a:pt x="36" y="0"/>
                  </a:cubicBezTo>
                  <a:cubicBezTo>
                    <a:pt x="28" y="0"/>
                    <a:pt x="22" y="2"/>
                    <a:pt x="16" y="5"/>
                  </a:cubicBezTo>
                  <a:cubicBezTo>
                    <a:pt x="11" y="8"/>
                    <a:pt x="7" y="12"/>
                    <a:pt x="4" y="18"/>
                  </a:cubicBezTo>
                  <a:cubicBezTo>
                    <a:pt x="1" y="23"/>
                    <a:pt x="0" y="30"/>
                    <a:pt x="0" y="38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60"/>
                    <a:pt x="1" y="67"/>
                    <a:pt x="4" y="73"/>
                  </a:cubicBezTo>
                  <a:cubicBezTo>
                    <a:pt x="7" y="78"/>
                    <a:pt x="11" y="82"/>
                    <a:pt x="16" y="85"/>
                  </a:cubicBezTo>
                  <a:cubicBezTo>
                    <a:pt x="22" y="88"/>
                    <a:pt x="28" y="90"/>
                    <a:pt x="36" y="90"/>
                  </a:cubicBezTo>
                  <a:cubicBezTo>
                    <a:pt x="43" y="90"/>
                    <a:pt x="50" y="88"/>
                    <a:pt x="55" y="85"/>
                  </a:cubicBezTo>
                  <a:cubicBezTo>
                    <a:pt x="61" y="82"/>
                    <a:pt x="65" y="78"/>
                    <a:pt x="67" y="73"/>
                  </a:cubicBezTo>
                  <a:cubicBezTo>
                    <a:pt x="70" y="67"/>
                    <a:pt x="72" y="60"/>
                    <a:pt x="72" y="52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0"/>
                    <a:pt x="70" y="23"/>
                    <a:pt x="67" y="18"/>
                  </a:cubicBezTo>
                  <a:cubicBezTo>
                    <a:pt x="65" y="12"/>
                    <a:pt x="61" y="8"/>
                    <a:pt x="55" y="5"/>
                  </a:cubicBezTo>
                  <a:close/>
                  <a:moveTo>
                    <a:pt x="55" y="52"/>
                  </a:moveTo>
                  <a:cubicBezTo>
                    <a:pt x="55" y="59"/>
                    <a:pt x="53" y="64"/>
                    <a:pt x="50" y="68"/>
                  </a:cubicBezTo>
                  <a:cubicBezTo>
                    <a:pt x="46" y="72"/>
                    <a:pt x="42" y="74"/>
                    <a:pt x="36" y="74"/>
                  </a:cubicBezTo>
                  <a:cubicBezTo>
                    <a:pt x="30" y="74"/>
                    <a:pt x="25" y="72"/>
                    <a:pt x="22" y="68"/>
                  </a:cubicBezTo>
                  <a:cubicBezTo>
                    <a:pt x="19" y="64"/>
                    <a:pt x="17" y="59"/>
                    <a:pt x="17" y="52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1"/>
                    <a:pt x="19" y="26"/>
                    <a:pt x="22" y="22"/>
                  </a:cubicBezTo>
                  <a:cubicBezTo>
                    <a:pt x="25" y="18"/>
                    <a:pt x="30" y="17"/>
                    <a:pt x="36" y="17"/>
                  </a:cubicBezTo>
                  <a:cubicBezTo>
                    <a:pt x="42" y="17"/>
                    <a:pt x="46" y="18"/>
                    <a:pt x="50" y="22"/>
                  </a:cubicBezTo>
                  <a:cubicBezTo>
                    <a:pt x="53" y="26"/>
                    <a:pt x="55" y="31"/>
                    <a:pt x="55" y="38"/>
                  </a:cubicBezTo>
                  <a:lnTo>
                    <a:pt x="55" y="52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30" name="Freeform 17"/>
            <p:cNvSpPr>
              <a:spLocks/>
            </p:cNvSpPr>
            <p:nvPr/>
          </p:nvSpPr>
          <p:spPr bwMode="auto">
            <a:xfrm>
              <a:off x="2665551" y="2281674"/>
              <a:ext cx="58397" cy="76093"/>
            </a:xfrm>
            <a:custGeom>
              <a:avLst/>
              <a:gdLst>
                <a:gd name="T0" fmla="*/ 40 w 70"/>
                <a:gd name="T1" fmla="*/ 0 h 89"/>
                <a:gd name="T2" fmla="*/ 26 w 70"/>
                <a:gd name="T3" fmla="*/ 5 h 89"/>
                <a:gd name="T4" fmla="*/ 17 w 70"/>
                <a:gd name="T5" fmla="*/ 14 h 89"/>
                <a:gd name="T6" fmla="*/ 17 w 70"/>
                <a:gd name="T7" fmla="*/ 2 h 89"/>
                <a:gd name="T8" fmla="*/ 0 w 70"/>
                <a:gd name="T9" fmla="*/ 2 h 89"/>
                <a:gd name="T10" fmla="*/ 0 w 70"/>
                <a:gd name="T11" fmla="*/ 89 h 89"/>
                <a:gd name="T12" fmla="*/ 17 w 70"/>
                <a:gd name="T13" fmla="*/ 89 h 89"/>
                <a:gd name="T14" fmla="*/ 17 w 70"/>
                <a:gd name="T15" fmla="*/ 34 h 89"/>
                <a:gd name="T16" fmla="*/ 22 w 70"/>
                <a:gd name="T17" fmla="*/ 21 h 89"/>
                <a:gd name="T18" fmla="*/ 35 w 70"/>
                <a:gd name="T19" fmla="*/ 17 h 89"/>
                <a:gd name="T20" fmla="*/ 48 w 70"/>
                <a:gd name="T21" fmla="*/ 22 h 89"/>
                <a:gd name="T22" fmla="*/ 53 w 70"/>
                <a:gd name="T23" fmla="*/ 36 h 89"/>
                <a:gd name="T24" fmla="*/ 53 w 70"/>
                <a:gd name="T25" fmla="*/ 89 h 89"/>
                <a:gd name="T26" fmla="*/ 70 w 70"/>
                <a:gd name="T27" fmla="*/ 89 h 89"/>
                <a:gd name="T28" fmla="*/ 70 w 70"/>
                <a:gd name="T29" fmla="*/ 36 h 89"/>
                <a:gd name="T30" fmla="*/ 62 w 70"/>
                <a:gd name="T31" fmla="*/ 10 h 89"/>
                <a:gd name="T32" fmla="*/ 40 w 70"/>
                <a:gd name="T3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89">
                  <a:moveTo>
                    <a:pt x="40" y="0"/>
                  </a:moveTo>
                  <a:cubicBezTo>
                    <a:pt x="35" y="0"/>
                    <a:pt x="30" y="2"/>
                    <a:pt x="26" y="5"/>
                  </a:cubicBezTo>
                  <a:cubicBezTo>
                    <a:pt x="22" y="7"/>
                    <a:pt x="19" y="10"/>
                    <a:pt x="17" y="14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28"/>
                    <a:pt x="19" y="24"/>
                    <a:pt x="22" y="21"/>
                  </a:cubicBezTo>
                  <a:cubicBezTo>
                    <a:pt x="25" y="18"/>
                    <a:pt x="29" y="17"/>
                    <a:pt x="35" y="17"/>
                  </a:cubicBezTo>
                  <a:cubicBezTo>
                    <a:pt x="40" y="17"/>
                    <a:pt x="45" y="18"/>
                    <a:pt x="48" y="22"/>
                  </a:cubicBezTo>
                  <a:cubicBezTo>
                    <a:pt x="51" y="25"/>
                    <a:pt x="53" y="30"/>
                    <a:pt x="53" y="36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0" y="25"/>
                    <a:pt x="67" y="16"/>
                    <a:pt x="62" y="10"/>
                  </a:cubicBezTo>
                  <a:cubicBezTo>
                    <a:pt x="57" y="3"/>
                    <a:pt x="50" y="0"/>
                    <a:pt x="40" y="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32" name="Freeform 18"/>
            <p:cNvSpPr>
              <a:spLocks/>
            </p:cNvSpPr>
            <p:nvPr/>
          </p:nvSpPr>
          <p:spPr bwMode="auto">
            <a:xfrm>
              <a:off x="2766065" y="2261500"/>
              <a:ext cx="32561" cy="96267"/>
            </a:xfrm>
            <a:custGeom>
              <a:avLst/>
              <a:gdLst>
                <a:gd name="T0" fmla="*/ 26 w 39"/>
                <a:gd name="T1" fmla="*/ 0 h 113"/>
                <a:gd name="T2" fmla="*/ 9 w 39"/>
                <a:gd name="T3" fmla="*/ 0 h 113"/>
                <a:gd name="T4" fmla="*/ 9 w 39"/>
                <a:gd name="T5" fmla="*/ 26 h 113"/>
                <a:gd name="T6" fmla="*/ 0 w 39"/>
                <a:gd name="T7" fmla="*/ 26 h 113"/>
                <a:gd name="T8" fmla="*/ 0 w 39"/>
                <a:gd name="T9" fmla="*/ 41 h 113"/>
                <a:gd name="T10" fmla="*/ 9 w 39"/>
                <a:gd name="T11" fmla="*/ 41 h 113"/>
                <a:gd name="T12" fmla="*/ 9 w 39"/>
                <a:gd name="T13" fmla="*/ 90 h 113"/>
                <a:gd name="T14" fmla="*/ 14 w 39"/>
                <a:gd name="T15" fmla="*/ 107 h 113"/>
                <a:gd name="T16" fmla="*/ 29 w 39"/>
                <a:gd name="T17" fmla="*/ 113 h 113"/>
                <a:gd name="T18" fmla="*/ 39 w 39"/>
                <a:gd name="T19" fmla="*/ 113 h 113"/>
                <a:gd name="T20" fmla="*/ 39 w 39"/>
                <a:gd name="T21" fmla="*/ 97 h 113"/>
                <a:gd name="T22" fmla="*/ 31 w 39"/>
                <a:gd name="T23" fmla="*/ 97 h 113"/>
                <a:gd name="T24" fmla="*/ 27 w 39"/>
                <a:gd name="T25" fmla="*/ 95 h 113"/>
                <a:gd name="T26" fmla="*/ 26 w 39"/>
                <a:gd name="T27" fmla="*/ 90 h 113"/>
                <a:gd name="T28" fmla="*/ 26 w 39"/>
                <a:gd name="T29" fmla="*/ 41 h 113"/>
                <a:gd name="T30" fmla="*/ 39 w 39"/>
                <a:gd name="T31" fmla="*/ 41 h 113"/>
                <a:gd name="T32" fmla="*/ 39 w 39"/>
                <a:gd name="T33" fmla="*/ 26 h 113"/>
                <a:gd name="T34" fmla="*/ 26 w 39"/>
                <a:gd name="T35" fmla="*/ 26 h 113"/>
                <a:gd name="T36" fmla="*/ 26 w 39"/>
                <a:gd name="T37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" h="113">
                  <a:moveTo>
                    <a:pt x="26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9" y="98"/>
                    <a:pt x="11" y="103"/>
                    <a:pt x="14" y="107"/>
                  </a:cubicBezTo>
                  <a:cubicBezTo>
                    <a:pt x="17" y="111"/>
                    <a:pt x="22" y="113"/>
                    <a:pt x="29" y="113"/>
                  </a:cubicBezTo>
                  <a:cubicBezTo>
                    <a:pt x="39" y="113"/>
                    <a:pt x="39" y="113"/>
                    <a:pt x="39" y="113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31" y="97"/>
                    <a:pt x="31" y="97"/>
                    <a:pt x="31" y="97"/>
                  </a:cubicBezTo>
                  <a:cubicBezTo>
                    <a:pt x="29" y="97"/>
                    <a:pt x="28" y="96"/>
                    <a:pt x="27" y="95"/>
                  </a:cubicBezTo>
                  <a:cubicBezTo>
                    <a:pt x="26" y="94"/>
                    <a:pt x="26" y="92"/>
                    <a:pt x="26" y="90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26" y="26"/>
                    <a:pt x="26" y="26"/>
                    <a:pt x="26" y="26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33" name="Freeform 19"/>
            <p:cNvSpPr>
              <a:spLocks/>
            </p:cNvSpPr>
            <p:nvPr/>
          </p:nvSpPr>
          <p:spPr bwMode="auto">
            <a:xfrm>
              <a:off x="2844636" y="2281674"/>
              <a:ext cx="49549" cy="76093"/>
            </a:xfrm>
            <a:custGeom>
              <a:avLst/>
              <a:gdLst>
                <a:gd name="T0" fmla="*/ 39 w 59"/>
                <a:gd name="T1" fmla="*/ 0 h 89"/>
                <a:gd name="T2" fmla="*/ 25 w 59"/>
                <a:gd name="T3" fmla="*/ 5 h 89"/>
                <a:gd name="T4" fmla="*/ 17 w 59"/>
                <a:gd name="T5" fmla="*/ 14 h 89"/>
                <a:gd name="T6" fmla="*/ 17 w 59"/>
                <a:gd name="T7" fmla="*/ 2 h 89"/>
                <a:gd name="T8" fmla="*/ 0 w 59"/>
                <a:gd name="T9" fmla="*/ 2 h 89"/>
                <a:gd name="T10" fmla="*/ 0 w 59"/>
                <a:gd name="T11" fmla="*/ 89 h 89"/>
                <a:gd name="T12" fmla="*/ 17 w 59"/>
                <a:gd name="T13" fmla="*/ 89 h 89"/>
                <a:gd name="T14" fmla="*/ 17 w 59"/>
                <a:gd name="T15" fmla="*/ 34 h 89"/>
                <a:gd name="T16" fmla="*/ 21 w 59"/>
                <a:gd name="T17" fmla="*/ 21 h 89"/>
                <a:gd name="T18" fmla="*/ 34 w 59"/>
                <a:gd name="T19" fmla="*/ 17 h 89"/>
                <a:gd name="T20" fmla="*/ 42 w 59"/>
                <a:gd name="T21" fmla="*/ 18 h 89"/>
                <a:gd name="T22" fmla="*/ 47 w 59"/>
                <a:gd name="T23" fmla="*/ 22 h 89"/>
                <a:gd name="T24" fmla="*/ 59 w 59"/>
                <a:gd name="T25" fmla="*/ 7 h 89"/>
                <a:gd name="T26" fmla="*/ 50 w 59"/>
                <a:gd name="T27" fmla="*/ 2 h 89"/>
                <a:gd name="T28" fmla="*/ 39 w 59"/>
                <a:gd name="T2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89">
                  <a:moveTo>
                    <a:pt x="39" y="0"/>
                  </a:moveTo>
                  <a:cubicBezTo>
                    <a:pt x="34" y="0"/>
                    <a:pt x="30" y="2"/>
                    <a:pt x="25" y="5"/>
                  </a:cubicBezTo>
                  <a:cubicBezTo>
                    <a:pt x="22" y="7"/>
                    <a:pt x="19" y="10"/>
                    <a:pt x="17" y="14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28"/>
                    <a:pt x="18" y="24"/>
                    <a:pt x="21" y="21"/>
                  </a:cubicBezTo>
                  <a:cubicBezTo>
                    <a:pt x="24" y="18"/>
                    <a:pt x="28" y="17"/>
                    <a:pt x="34" y="17"/>
                  </a:cubicBezTo>
                  <a:cubicBezTo>
                    <a:pt x="37" y="17"/>
                    <a:pt x="39" y="17"/>
                    <a:pt x="42" y="18"/>
                  </a:cubicBezTo>
                  <a:cubicBezTo>
                    <a:pt x="44" y="19"/>
                    <a:pt x="46" y="20"/>
                    <a:pt x="47" y="22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56" y="5"/>
                    <a:pt x="53" y="3"/>
                    <a:pt x="50" y="2"/>
                  </a:cubicBezTo>
                  <a:cubicBezTo>
                    <a:pt x="47" y="1"/>
                    <a:pt x="43" y="0"/>
                    <a:pt x="39" y="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34" name="Freeform 20"/>
            <p:cNvSpPr>
              <a:spLocks noEditPoints="1"/>
            </p:cNvSpPr>
            <p:nvPr/>
          </p:nvSpPr>
          <p:spPr bwMode="auto">
            <a:xfrm>
              <a:off x="2928515" y="2281674"/>
              <a:ext cx="59459" cy="76801"/>
            </a:xfrm>
            <a:custGeom>
              <a:avLst/>
              <a:gdLst>
                <a:gd name="T0" fmla="*/ 55 w 71"/>
                <a:gd name="T1" fmla="*/ 5 h 90"/>
                <a:gd name="T2" fmla="*/ 35 w 71"/>
                <a:gd name="T3" fmla="*/ 0 h 90"/>
                <a:gd name="T4" fmla="*/ 16 w 71"/>
                <a:gd name="T5" fmla="*/ 5 h 90"/>
                <a:gd name="T6" fmla="*/ 4 w 71"/>
                <a:gd name="T7" fmla="*/ 18 h 90"/>
                <a:gd name="T8" fmla="*/ 0 w 71"/>
                <a:gd name="T9" fmla="*/ 38 h 90"/>
                <a:gd name="T10" fmla="*/ 0 w 71"/>
                <a:gd name="T11" fmla="*/ 52 h 90"/>
                <a:gd name="T12" fmla="*/ 4 w 71"/>
                <a:gd name="T13" fmla="*/ 73 h 90"/>
                <a:gd name="T14" fmla="*/ 16 w 71"/>
                <a:gd name="T15" fmla="*/ 85 h 90"/>
                <a:gd name="T16" fmla="*/ 35 w 71"/>
                <a:gd name="T17" fmla="*/ 90 h 90"/>
                <a:gd name="T18" fmla="*/ 55 w 71"/>
                <a:gd name="T19" fmla="*/ 85 h 90"/>
                <a:gd name="T20" fmla="*/ 67 w 71"/>
                <a:gd name="T21" fmla="*/ 73 h 90"/>
                <a:gd name="T22" fmla="*/ 71 w 71"/>
                <a:gd name="T23" fmla="*/ 52 h 90"/>
                <a:gd name="T24" fmla="*/ 71 w 71"/>
                <a:gd name="T25" fmla="*/ 38 h 90"/>
                <a:gd name="T26" fmla="*/ 67 w 71"/>
                <a:gd name="T27" fmla="*/ 18 h 90"/>
                <a:gd name="T28" fmla="*/ 55 w 71"/>
                <a:gd name="T29" fmla="*/ 5 h 90"/>
                <a:gd name="T30" fmla="*/ 54 w 71"/>
                <a:gd name="T31" fmla="*/ 52 h 90"/>
                <a:gd name="T32" fmla="*/ 49 w 71"/>
                <a:gd name="T33" fmla="*/ 68 h 90"/>
                <a:gd name="T34" fmla="*/ 35 w 71"/>
                <a:gd name="T35" fmla="*/ 74 h 90"/>
                <a:gd name="T36" fmla="*/ 22 w 71"/>
                <a:gd name="T37" fmla="*/ 68 h 90"/>
                <a:gd name="T38" fmla="*/ 17 w 71"/>
                <a:gd name="T39" fmla="*/ 52 h 90"/>
                <a:gd name="T40" fmla="*/ 17 w 71"/>
                <a:gd name="T41" fmla="*/ 38 h 90"/>
                <a:gd name="T42" fmla="*/ 22 w 71"/>
                <a:gd name="T43" fmla="*/ 22 h 90"/>
                <a:gd name="T44" fmla="*/ 35 w 71"/>
                <a:gd name="T45" fmla="*/ 17 h 90"/>
                <a:gd name="T46" fmla="*/ 49 w 71"/>
                <a:gd name="T47" fmla="*/ 22 h 90"/>
                <a:gd name="T48" fmla="*/ 54 w 71"/>
                <a:gd name="T49" fmla="*/ 38 h 90"/>
                <a:gd name="T50" fmla="*/ 54 w 71"/>
                <a:gd name="T51" fmla="*/ 5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1" h="90">
                  <a:moveTo>
                    <a:pt x="55" y="5"/>
                  </a:moveTo>
                  <a:cubicBezTo>
                    <a:pt x="49" y="2"/>
                    <a:pt x="43" y="0"/>
                    <a:pt x="35" y="0"/>
                  </a:cubicBezTo>
                  <a:cubicBezTo>
                    <a:pt x="28" y="0"/>
                    <a:pt x="21" y="2"/>
                    <a:pt x="16" y="5"/>
                  </a:cubicBezTo>
                  <a:cubicBezTo>
                    <a:pt x="11" y="8"/>
                    <a:pt x="7" y="12"/>
                    <a:pt x="4" y="18"/>
                  </a:cubicBezTo>
                  <a:cubicBezTo>
                    <a:pt x="1" y="23"/>
                    <a:pt x="0" y="30"/>
                    <a:pt x="0" y="38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60"/>
                    <a:pt x="1" y="67"/>
                    <a:pt x="4" y="73"/>
                  </a:cubicBezTo>
                  <a:cubicBezTo>
                    <a:pt x="7" y="78"/>
                    <a:pt x="11" y="82"/>
                    <a:pt x="16" y="85"/>
                  </a:cubicBezTo>
                  <a:cubicBezTo>
                    <a:pt x="21" y="88"/>
                    <a:pt x="28" y="90"/>
                    <a:pt x="35" y="90"/>
                  </a:cubicBezTo>
                  <a:cubicBezTo>
                    <a:pt x="43" y="90"/>
                    <a:pt x="49" y="88"/>
                    <a:pt x="55" y="85"/>
                  </a:cubicBezTo>
                  <a:cubicBezTo>
                    <a:pt x="60" y="82"/>
                    <a:pt x="64" y="78"/>
                    <a:pt x="67" y="73"/>
                  </a:cubicBezTo>
                  <a:cubicBezTo>
                    <a:pt x="70" y="67"/>
                    <a:pt x="71" y="60"/>
                    <a:pt x="71" y="52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0"/>
                    <a:pt x="70" y="23"/>
                    <a:pt x="67" y="18"/>
                  </a:cubicBezTo>
                  <a:cubicBezTo>
                    <a:pt x="64" y="12"/>
                    <a:pt x="60" y="8"/>
                    <a:pt x="55" y="5"/>
                  </a:cubicBezTo>
                  <a:close/>
                  <a:moveTo>
                    <a:pt x="54" y="52"/>
                  </a:moveTo>
                  <a:cubicBezTo>
                    <a:pt x="54" y="59"/>
                    <a:pt x="53" y="64"/>
                    <a:pt x="49" y="68"/>
                  </a:cubicBezTo>
                  <a:cubicBezTo>
                    <a:pt x="46" y="72"/>
                    <a:pt x="41" y="74"/>
                    <a:pt x="35" y="74"/>
                  </a:cubicBezTo>
                  <a:cubicBezTo>
                    <a:pt x="29" y="74"/>
                    <a:pt x="25" y="72"/>
                    <a:pt x="22" y="68"/>
                  </a:cubicBezTo>
                  <a:cubicBezTo>
                    <a:pt x="18" y="64"/>
                    <a:pt x="17" y="59"/>
                    <a:pt x="17" y="52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1"/>
                    <a:pt x="18" y="26"/>
                    <a:pt x="22" y="22"/>
                  </a:cubicBezTo>
                  <a:cubicBezTo>
                    <a:pt x="25" y="18"/>
                    <a:pt x="29" y="17"/>
                    <a:pt x="35" y="17"/>
                  </a:cubicBezTo>
                  <a:cubicBezTo>
                    <a:pt x="41" y="17"/>
                    <a:pt x="46" y="18"/>
                    <a:pt x="49" y="22"/>
                  </a:cubicBezTo>
                  <a:cubicBezTo>
                    <a:pt x="53" y="26"/>
                    <a:pt x="54" y="31"/>
                    <a:pt x="54" y="38"/>
                  </a:cubicBezTo>
                  <a:lnTo>
                    <a:pt x="54" y="52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36" name="Freeform 21"/>
            <p:cNvSpPr>
              <a:spLocks/>
            </p:cNvSpPr>
            <p:nvPr/>
          </p:nvSpPr>
          <p:spPr bwMode="auto">
            <a:xfrm>
              <a:off x="3034691" y="2253714"/>
              <a:ext cx="25128" cy="104053"/>
            </a:xfrm>
            <a:custGeom>
              <a:avLst/>
              <a:gdLst>
                <a:gd name="T0" fmla="*/ 22 w 30"/>
                <a:gd name="T1" fmla="*/ 106 h 122"/>
                <a:gd name="T2" fmla="*/ 18 w 30"/>
                <a:gd name="T3" fmla="*/ 104 h 122"/>
                <a:gd name="T4" fmla="*/ 17 w 30"/>
                <a:gd name="T5" fmla="*/ 99 h 122"/>
                <a:gd name="T6" fmla="*/ 17 w 30"/>
                <a:gd name="T7" fmla="*/ 0 h 122"/>
                <a:gd name="T8" fmla="*/ 0 w 30"/>
                <a:gd name="T9" fmla="*/ 0 h 122"/>
                <a:gd name="T10" fmla="*/ 0 w 30"/>
                <a:gd name="T11" fmla="*/ 99 h 122"/>
                <a:gd name="T12" fmla="*/ 5 w 30"/>
                <a:gd name="T13" fmla="*/ 116 h 122"/>
                <a:gd name="T14" fmla="*/ 20 w 30"/>
                <a:gd name="T15" fmla="*/ 122 h 122"/>
                <a:gd name="T16" fmla="*/ 30 w 30"/>
                <a:gd name="T17" fmla="*/ 122 h 122"/>
                <a:gd name="T18" fmla="*/ 30 w 30"/>
                <a:gd name="T19" fmla="*/ 106 h 122"/>
                <a:gd name="T20" fmla="*/ 22 w 30"/>
                <a:gd name="T21" fmla="*/ 106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22">
                  <a:moveTo>
                    <a:pt x="22" y="106"/>
                  </a:moveTo>
                  <a:cubicBezTo>
                    <a:pt x="20" y="106"/>
                    <a:pt x="19" y="105"/>
                    <a:pt x="18" y="104"/>
                  </a:cubicBezTo>
                  <a:cubicBezTo>
                    <a:pt x="17" y="103"/>
                    <a:pt x="17" y="101"/>
                    <a:pt x="17" y="99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6"/>
                    <a:pt x="1" y="112"/>
                    <a:pt x="5" y="116"/>
                  </a:cubicBezTo>
                  <a:cubicBezTo>
                    <a:pt x="8" y="120"/>
                    <a:pt x="13" y="122"/>
                    <a:pt x="20" y="122"/>
                  </a:cubicBezTo>
                  <a:cubicBezTo>
                    <a:pt x="30" y="122"/>
                    <a:pt x="30" y="122"/>
                    <a:pt x="30" y="122"/>
                  </a:cubicBezTo>
                  <a:cubicBezTo>
                    <a:pt x="30" y="106"/>
                    <a:pt x="30" y="106"/>
                    <a:pt x="30" y="106"/>
                  </a:cubicBezTo>
                  <a:lnTo>
                    <a:pt x="22" y="106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</p:grpSp>
    </p:spTree>
    <p:extLst>
      <p:ext uri="{BB962C8B-B14F-4D97-AF65-F5344CB8AC3E}">
        <p14:creationId xmlns:p14="http://schemas.microsoft.com/office/powerpoint/2010/main" val="177870936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表紙：LA2_16_9_Onscreen（Communication）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sp>
        <p:nvSpPr>
          <p:cNvPr id="35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pic>
        <p:nvPicPr>
          <p:cNvPr id="37" name="図 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9277" y="5527551"/>
            <a:ext cx="2022302" cy="516581"/>
          </a:xfrm>
          <a:prstGeom prst="rect">
            <a:avLst/>
          </a:prstGeom>
        </p:spPr>
      </p:pic>
      <p:sp>
        <p:nvSpPr>
          <p:cNvPr id="38" name="表紙サブタイトル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4420" y="3898245"/>
            <a:ext cx="4596587" cy="28803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33">
                <a:solidFill>
                  <a:schemeClr val="tx1"/>
                </a:solidFill>
              </a:defRPr>
            </a:lvl1pPr>
            <a:lvl2pPr marL="402393" indent="0" algn="ctr">
              <a:buNone/>
              <a:defRPr sz="1760"/>
            </a:lvl2pPr>
            <a:lvl3pPr marL="804784" indent="0" algn="ctr">
              <a:buNone/>
              <a:defRPr sz="1585"/>
            </a:lvl3pPr>
            <a:lvl4pPr marL="1207176" indent="0" algn="ctr">
              <a:buNone/>
              <a:defRPr sz="1408"/>
            </a:lvl4pPr>
            <a:lvl5pPr marL="1609567" indent="0" algn="ctr">
              <a:buNone/>
              <a:defRPr sz="1408"/>
            </a:lvl5pPr>
            <a:lvl6pPr marL="2011960" indent="0" algn="ctr">
              <a:buNone/>
              <a:defRPr sz="1408"/>
            </a:lvl6pPr>
            <a:lvl7pPr marL="2414352" indent="0" algn="ctr">
              <a:buNone/>
              <a:defRPr sz="1408"/>
            </a:lvl7pPr>
            <a:lvl8pPr marL="2816744" indent="0" algn="ctr">
              <a:buNone/>
              <a:defRPr sz="1408"/>
            </a:lvl8pPr>
            <a:lvl9pPr marL="3219133" indent="0" algn="ctr">
              <a:buNone/>
              <a:defRPr sz="1408"/>
            </a:lvl9pPr>
          </a:lstStyle>
          <a:p>
            <a:r>
              <a:rPr lang="ja-JP" altLang="en-US" noProof="0" dirty="0"/>
              <a:t>表紙</a:t>
            </a:r>
            <a:r>
              <a:rPr lang="ja-JP" altLang="en-US" noProof="0" dirty="0" smtClean="0"/>
              <a:t>サブタイトル（任意）／</a:t>
            </a:r>
            <a:r>
              <a:rPr lang="en-US" altLang="ja-JP" noProof="0" dirty="0" smtClean="0"/>
              <a:t>16pt</a:t>
            </a:r>
          </a:p>
        </p:txBody>
      </p:sp>
      <p:sp>
        <p:nvSpPr>
          <p:cNvPr id="39" name="表紙タイトル"/>
          <p:cNvSpPr>
            <a:spLocks noGrp="1"/>
          </p:cNvSpPr>
          <p:nvPr>
            <p:ph type="ctrTitle" hasCustomPrompt="1"/>
          </p:nvPr>
        </p:nvSpPr>
        <p:spPr bwMode="gray">
          <a:xfrm>
            <a:off x="434422" y="4234245"/>
            <a:ext cx="8028968" cy="1114968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17" b="1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 smtClean="0"/>
              <a:t>表紙タイトル／</a:t>
            </a:r>
            <a:r>
              <a:rPr lang="en-US" altLang="ja-JP" noProof="0" dirty="0" smtClean="0"/>
              <a:t>26pt </a:t>
            </a:r>
            <a:r>
              <a:rPr lang="ja-JP" altLang="en-US" noProof="0" dirty="0" smtClean="0"/>
              <a:t>太字</a:t>
            </a:r>
            <a:r>
              <a:rPr lang="en-US" altLang="ja-JP" noProof="0" dirty="0" smtClean="0"/>
              <a:t/>
            </a:r>
            <a:br>
              <a:rPr lang="en-US" altLang="ja-JP" noProof="0" dirty="0" smtClean="0"/>
            </a:br>
            <a:r>
              <a:rPr lang="ja-JP" altLang="en-US" noProof="0" dirty="0" smtClean="0"/>
              <a:t>表紙タイトル／</a:t>
            </a:r>
            <a:r>
              <a:rPr lang="en-US" altLang="ja-JP" noProof="0" dirty="0" smtClean="0"/>
              <a:t>26pt </a:t>
            </a:r>
            <a:r>
              <a:rPr lang="ja-JP" altLang="en-US" noProof="0" dirty="0" smtClean="0"/>
              <a:t>太字</a:t>
            </a:r>
            <a:endParaRPr lang="en-US" noProof="0" dirty="0"/>
          </a:p>
        </p:txBody>
      </p:sp>
      <p:sp>
        <p:nvSpPr>
          <p:cNvPr id="40" name="バージョン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49277" y="6222469"/>
            <a:ext cx="2022302" cy="206096"/>
          </a:xfrm>
          <a:prstGeom prst="rect">
            <a:avLst/>
          </a:prstGeom>
        </p:spPr>
        <p:txBody>
          <a:bodyPr wrap="square" lIns="36000" tIns="36000" rIns="36000" bIns="3600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67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 err="1" smtClean="0"/>
              <a:t>Ver.XXX</a:t>
            </a:r>
            <a:endParaRPr lang="ja-JP" altLang="en-US" dirty="0"/>
          </a:p>
        </p:txBody>
      </p:sp>
      <p:pic>
        <p:nvPicPr>
          <p:cNvPr id="41" name="図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108" y="548680"/>
            <a:ext cx="9034272" cy="3096768"/>
          </a:xfrm>
          <a:prstGeom prst="rect">
            <a:avLst/>
          </a:prstGeom>
        </p:spPr>
      </p:pic>
      <p:grpSp>
        <p:nvGrpSpPr>
          <p:cNvPr id="42" name="グループ化 41"/>
          <p:cNvGrpSpPr/>
          <p:nvPr/>
        </p:nvGrpSpPr>
        <p:grpSpPr>
          <a:xfrm>
            <a:off x="1997282" y="2392700"/>
            <a:ext cx="1470862" cy="427893"/>
            <a:chOff x="350838" y="1570038"/>
            <a:chExt cx="8442325" cy="1995487"/>
          </a:xfrm>
        </p:grpSpPr>
        <p:sp>
          <p:nvSpPr>
            <p:cNvPr id="43" name="Freeform 5"/>
            <p:cNvSpPr>
              <a:spLocks/>
            </p:cNvSpPr>
            <p:nvPr/>
          </p:nvSpPr>
          <p:spPr bwMode="auto">
            <a:xfrm>
              <a:off x="350838" y="2819400"/>
              <a:ext cx="506413" cy="746125"/>
            </a:xfrm>
            <a:custGeom>
              <a:avLst/>
              <a:gdLst>
                <a:gd name="T0" fmla="*/ 101 w 135"/>
                <a:gd name="T1" fmla="*/ 150 h 198"/>
                <a:gd name="T2" fmla="*/ 89 w 135"/>
                <a:gd name="T3" fmla="*/ 162 h 198"/>
                <a:gd name="T4" fmla="*/ 73 w 135"/>
                <a:gd name="T5" fmla="*/ 169 h 198"/>
                <a:gd name="T6" fmla="*/ 52 w 135"/>
                <a:gd name="T7" fmla="*/ 167 h 198"/>
                <a:gd name="T8" fmla="*/ 38 w 135"/>
                <a:gd name="T9" fmla="*/ 154 h 198"/>
                <a:gd name="T10" fmla="*/ 31 w 135"/>
                <a:gd name="T11" fmla="*/ 131 h 198"/>
                <a:gd name="T12" fmla="*/ 27 w 135"/>
                <a:gd name="T13" fmla="*/ 79 h 198"/>
                <a:gd name="T14" fmla="*/ 31 w 135"/>
                <a:gd name="T15" fmla="*/ 55 h 198"/>
                <a:gd name="T16" fmla="*/ 43 w 135"/>
                <a:gd name="T17" fmla="*/ 37 h 198"/>
                <a:gd name="T18" fmla="*/ 62 w 135"/>
                <a:gd name="T19" fmla="*/ 27 h 198"/>
                <a:gd name="T20" fmla="*/ 79 w 135"/>
                <a:gd name="T21" fmla="*/ 28 h 198"/>
                <a:gd name="T22" fmla="*/ 93 w 135"/>
                <a:gd name="T23" fmla="*/ 37 h 198"/>
                <a:gd name="T24" fmla="*/ 102 w 135"/>
                <a:gd name="T25" fmla="*/ 51 h 198"/>
                <a:gd name="T26" fmla="*/ 129 w 135"/>
                <a:gd name="T27" fmla="*/ 46 h 198"/>
                <a:gd name="T28" fmla="*/ 115 w 135"/>
                <a:gd name="T29" fmla="*/ 19 h 198"/>
                <a:gd name="T30" fmla="*/ 91 w 135"/>
                <a:gd name="T31" fmla="*/ 3 h 198"/>
                <a:gd name="T32" fmla="*/ 61 w 135"/>
                <a:gd name="T33" fmla="*/ 2 h 198"/>
                <a:gd name="T34" fmla="*/ 27 w 135"/>
                <a:gd name="T35" fmla="*/ 17 h 198"/>
                <a:gd name="T36" fmla="*/ 6 w 135"/>
                <a:gd name="T37" fmla="*/ 45 h 198"/>
                <a:gd name="T38" fmla="*/ 1 w 135"/>
                <a:gd name="T39" fmla="*/ 84 h 198"/>
                <a:gd name="T40" fmla="*/ 4 w 135"/>
                <a:gd name="T41" fmla="*/ 136 h 198"/>
                <a:gd name="T42" fmla="*/ 15 w 135"/>
                <a:gd name="T43" fmla="*/ 172 h 198"/>
                <a:gd name="T44" fmla="*/ 40 w 135"/>
                <a:gd name="T45" fmla="*/ 192 h 198"/>
                <a:gd name="T46" fmla="*/ 55 w 135"/>
                <a:gd name="T47" fmla="*/ 198 h 198"/>
                <a:gd name="T48" fmla="*/ 75 w 135"/>
                <a:gd name="T49" fmla="*/ 195 h 198"/>
                <a:gd name="T50" fmla="*/ 104 w 135"/>
                <a:gd name="T51" fmla="*/ 182 h 198"/>
                <a:gd name="T52" fmla="*/ 125 w 135"/>
                <a:gd name="T53" fmla="*/ 159 h 198"/>
                <a:gd name="T54" fmla="*/ 135 w 135"/>
                <a:gd name="T55" fmla="*/ 127 h 198"/>
                <a:gd name="T56" fmla="*/ 108 w 135"/>
                <a:gd name="T57" fmla="*/ 132 h 198"/>
                <a:gd name="T58" fmla="*/ 101 w 135"/>
                <a:gd name="T59" fmla="*/ 15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5" h="198">
                  <a:moveTo>
                    <a:pt x="101" y="150"/>
                  </a:moveTo>
                  <a:cubicBezTo>
                    <a:pt x="98" y="155"/>
                    <a:pt x="94" y="159"/>
                    <a:pt x="89" y="162"/>
                  </a:cubicBezTo>
                  <a:cubicBezTo>
                    <a:pt x="84" y="166"/>
                    <a:pt x="78" y="168"/>
                    <a:pt x="73" y="169"/>
                  </a:cubicBezTo>
                  <a:cubicBezTo>
                    <a:pt x="65" y="170"/>
                    <a:pt x="58" y="170"/>
                    <a:pt x="52" y="167"/>
                  </a:cubicBezTo>
                  <a:cubicBezTo>
                    <a:pt x="46" y="164"/>
                    <a:pt x="41" y="160"/>
                    <a:pt x="38" y="154"/>
                  </a:cubicBezTo>
                  <a:cubicBezTo>
                    <a:pt x="34" y="147"/>
                    <a:pt x="32" y="140"/>
                    <a:pt x="31" y="131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0"/>
                    <a:pt x="28" y="62"/>
                    <a:pt x="31" y="55"/>
                  </a:cubicBezTo>
                  <a:cubicBezTo>
                    <a:pt x="33" y="48"/>
                    <a:pt x="37" y="41"/>
                    <a:pt x="43" y="37"/>
                  </a:cubicBezTo>
                  <a:cubicBezTo>
                    <a:pt x="48" y="32"/>
                    <a:pt x="55" y="29"/>
                    <a:pt x="62" y="27"/>
                  </a:cubicBezTo>
                  <a:cubicBezTo>
                    <a:pt x="68" y="26"/>
                    <a:pt x="73" y="27"/>
                    <a:pt x="79" y="28"/>
                  </a:cubicBezTo>
                  <a:cubicBezTo>
                    <a:pt x="84" y="30"/>
                    <a:pt x="89" y="33"/>
                    <a:pt x="93" y="37"/>
                  </a:cubicBezTo>
                  <a:cubicBezTo>
                    <a:pt x="97" y="41"/>
                    <a:pt x="100" y="45"/>
                    <a:pt x="102" y="51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6" y="35"/>
                    <a:pt x="121" y="26"/>
                    <a:pt x="115" y="19"/>
                  </a:cubicBezTo>
                  <a:cubicBezTo>
                    <a:pt x="108" y="11"/>
                    <a:pt x="100" y="6"/>
                    <a:pt x="91" y="3"/>
                  </a:cubicBezTo>
                  <a:cubicBezTo>
                    <a:pt x="81" y="0"/>
                    <a:pt x="71" y="0"/>
                    <a:pt x="61" y="2"/>
                  </a:cubicBezTo>
                  <a:cubicBezTo>
                    <a:pt x="48" y="4"/>
                    <a:pt x="36" y="9"/>
                    <a:pt x="27" y="17"/>
                  </a:cubicBezTo>
                  <a:cubicBezTo>
                    <a:pt x="18" y="24"/>
                    <a:pt x="11" y="34"/>
                    <a:pt x="6" y="45"/>
                  </a:cubicBezTo>
                  <a:cubicBezTo>
                    <a:pt x="1" y="57"/>
                    <a:pt x="0" y="70"/>
                    <a:pt x="1" y="84"/>
                  </a:cubicBezTo>
                  <a:cubicBezTo>
                    <a:pt x="4" y="136"/>
                    <a:pt x="4" y="136"/>
                    <a:pt x="4" y="136"/>
                  </a:cubicBezTo>
                  <a:cubicBezTo>
                    <a:pt x="5" y="150"/>
                    <a:pt x="9" y="162"/>
                    <a:pt x="15" y="172"/>
                  </a:cubicBezTo>
                  <a:cubicBezTo>
                    <a:pt x="21" y="181"/>
                    <a:pt x="30" y="188"/>
                    <a:pt x="40" y="192"/>
                  </a:cubicBezTo>
                  <a:cubicBezTo>
                    <a:pt x="50" y="196"/>
                    <a:pt x="55" y="198"/>
                    <a:pt x="55" y="198"/>
                  </a:cubicBezTo>
                  <a:cubicBezTo>
                    <a:pt x="55" y="198"/>
                    <a:pt x="62" y="197"/>
                    <a:pt x="75" y="195"/>
                  </a:cubicBezTo>
                  <a:cubicBezTo>
                    <a:pt x="85" y="193"/>
                    <a:pt x="95" y="189"/>
                    <a:pt x="104" y="182"/>
                  </a:cubicBezTo>
                  <a:cubicBezTo>
                    <a:pt x="112" y="176"/>
                    <a:pt x="119" y="168"/>
                    <a:pt x="125" y="159"/>
                  </a:cubicBezTo>
                  <a:cubicBezTo>
                    <a:pt x="130" y="149"/>
                    <a:pt x="134" y="138"/>
                    <a:pt x="135" y="127"/>
                  </a:cubicBezTo>
                  <a:cubicBezTo>
                    <a:pt x="108" y="132"/>
                    <a:pt x="108" y="132"/>
                    <a:pt x="108" y="132"/>
                  </a:cubicBezTo>
                  <a:cubicBezTo>
                    <a:pt x="107" y="138"/>
                    <a:pt x="105" y="144"/>
                    <a:pt x="101" y="15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44" name="Freeform 6"/>
            <p:cNvSpPr>
              <a:spLocks noEditPoints="1"/>
            </p:cNvSpPr>
            <p:nvPr/>
          </p:nvSpPr>
          <p:spPr bwMode="auto">
            <a:xfrm>
              <a:off x="1101726" y="2894013"/>
              <a:ext cx="427038" cy="539750"/>
            </a:xfrm>
            <a:custGeom>
              <a:avLst/>
              <a:gdLst>
                <a:gd name="T0" fmla="*/ 112 w 114"/>
                <a:gd name="T1" fmla="*/ 50 h 143"/>
                <a:gd name="T2" fmla="*/ 103 w 114"/>
                <a:gd name="T3" fmla="*/ 20 h 143"/>
                <a:gd name="T4" fmla="*/ 82 w 114"/>
                <a:gd name="T5" fmla="*/ 3 h 143"/>
                <a:gd name="T6" fmla="*/ 52 w 114"/>
                <a:gd name="T7" fmla="*/ 2 h 143"/>
                <a:gd name="T8" fmla="*/ 23 w 114"/>
                <a:gd name="T9" fmla="*/ 14 h 143"/>
                <a:gd name="T10" fmla="*/ 5 w 114"/>
                <a:gd name="T11" fmla="*/ 37 h 143"/>
                <a:gd name="T12" fmla="*/ 1 w 114"/>
                <a:gd name="T13" fmla="*/ 70 h 143"/>
                <a:gd name="T14" fmla="*/ 3 w 114"/>
                <a:gd name="T15" fmla="*/ 92 h 143"/>
                <a:gd name="T16" fmla="*/ 12 w 114"/>
                <a:gd name="T17" fmla="*/ 123 h 143"/>
                <a:gd name="T18" fmla="*/ 32 w 114"/>
                <a:gd name="T19" fmla="*/ 139 h 143"/>
                <a:gd name="T20" fmla="*/ 62 w 114"/>
                <a:gd name="T21" fmla="*/ 141 h 143"/>
                <a:gd name="T22" fmla="*/ 92 w 114"/>
                <a:gd name="T23" fmla="*/ 129 h 143"/>
                <a:gd name="T24" fmla="*/ 109 w 114"/>
                <a:gd name="T25" fmla="*/ 105 h 143"/>
                <a:gd name="T26" fmla="*/ 113 w 114"/>
                <a:gd name="T27" fmla="*/ 72 h 143"/>
                <a:gd name="T28" fmla="*/ 112 w 114"/>
                <a:gd name="T29" fmla="*/ 50 h 143"/>
                <a:gd name="T30" fmla="*/ 81 w 114"/>
                <a:gd name="T31" fmla="*/ 103 h 143"/>
                <a:gd name="T32" fmla="*/ 60 w 114"/>
                <a:gd name="T33" fmla="*/ 116 h 143"/>
                <a:gd name="T34" fmla="*/ 38 w 114"/>
                <a:gd name="T35" fmla="*/ 111 h 143"/>
                <a:gd name="T36" fmla="*/ 29 w 114"/>
                <a:gd name="T37" fmla="*/ 88 h 143"/>
                <a:gd name="T38" fmla="*/ 28 w 114"/>
                <a:gd name="T39" fmla="*/ 65 h 143"/>
                <a:gd name="T40" fmla="*/ 33 w 114"/>
                <a:gd name="T41" fmla="*/ 40 h 143"/>
                <a:gd name="T42" fmla="*/ 54 w 114"/>
                <a:gd name="T43" fmla="*/ 27 h 143"/>
                <a:gd name="T44" fmla="*/ 76 w 114"/>
                <a:gd name="T45" fmla="*/ 32 h 143"/>
                <a:gd name="T46" fmla="*/ 85 w 114"/>
                <a:gd name="T47" fmla="*/ 55 h 143"/>
                <a:gd name="T48" fmla="*/ 87 w 114"/>
                <a:gd name="T49" fmla="*/ 77 h 143"/>
                <a:gd name="T50" fmla="*/ 81 w 114"/>
                <a:gd name="T51" fmla="*/ 10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4" h="143">
                  <a:moveTo>
                    <a:pt x="112" y="50"/>
                  </a:moveTo>
                  <a:cubicBezTo>
                    <a:pt x="111" y="38"/>
                    <a:pt x="108" y="28"/>
                    <a:pt x="103" y="20"/>
                  </a:cubicBezTo>
                  <a:cubicBezTo>
                    <a:pt x="98" y="12"/>
                    <a:pt x="91" y="6"/>
                    <a:pt x="82" y="3"/>
                  </a:cubicBezTo>
                  <a:cubicBezTo>
                    <a:pt x="74" y="0"/>
                    <a:pt x="64" y="0"/>
                    <a:pt x="52" y="2"/>
                  </a:cubicBezTo>
                  <a:cubicBezTo>
                    <a:pt x="41" y="4"/>
                    <a:pt x="31" y="8"/>
                    <a:pt x="23" y="14"/>
                  </a:cubicBezTo>
                  <a:cubicBezTo>
                    <a:pt x="15" y="20"/>
                    <a:pt x="9" y="28"/>
                    <a:pt x="5" y="37"/>
                  </a:cubicBezTo>
                  <a:cubicBezTo>
                    <a:pt x="2" y="47"/>
                    <a:pt x="0" y="58"/>
                    <a:pt x="1" y="70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4" y="104"/>
                    <a:pt x="7" y="115"/>
                    <a:pt x="12" y="123"/>
                  </a:cubicBezTo>
                  <a:cubicBezTo>
                    <a:pt x="17" y="131"/>
                    <a:pt x="23" y="136"/>
                    <a:pt x="32" y="139"/>
                  </a:cubicBezTo>
                  <a:cubicBezTo>
                    <a:pt x="41" y="142"/>
                    <a:pt x="51" y="143"/>
                    <a:pt x="62" y="141"/>
                  </a:cubicBezTo>
                  <a:cubicBezTo>
                    <a:pt x="74" y="139"/>
                    <a:pt x="84" y="135"/>
                    <a:pt x="92" y="129"/>
                  </a:cubicBezTo>
                  <a:cubicBezTo>
                    <a:pt x="99" y="123"/>
                    <a:pt x="105" y="115"/>
                    <a:pt x="109" y="105"/>
                  </a:cubicBezTo>
                  <a:cubicBezTo>
                    <a:pt x="113" y="96"/>
                    <a:pt x="114" y="85"/>
                    <a:pt x="113" y="72"/>
                  </a:cubicBezTo>
                  <a:lnTo>
                    <a:pt x="112" y="50"/>
                  </a:lnTo>
                  <a:close/>
                  <a:moveTo>
                    <a:pt x="81" y="103"/>
                  </a:moveTo>
                  <a:cubicBezTo>
                    <a:pt x="77" y="110"/>
                    <a:pt x="70" y="114"/>
                    <a:pt x="60" y="116"/>
                  </a:cubicBezTo>
                  <a:cubicBezTo>
                    <a:pt x="51" y="117"/>
                    <a:pt x="44" y="116"/>
                    <a:pt x="38" y="111"/>
                  </a:cubicBezTo>
                  <a:cubicBezTo>
                    <a:pt x="33" y="106"/>
                    <a:pt x="30" y="98"/>
                    <a:pt x="29" y="88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7" y="55"/>
                    <a:pt x="29" y="46"/>
                    <a:pt x="33" y="40"/>
                  </a:cubicBezTo>
                  <a:cubicBezTo>
                    <a:pt x="38" y="33"/>
                    <a:pt x="45" y="29"/>
                    <a:pt x="54" y="27"/>
                  </a:cubicBezTo>
                  <a:cubicBezTo>
                    <a:pt x="63" y="25"/>
                    <a:pt x="70" y="27"/>
                    <a:pt x="76" y="32"/>
                  </a:cubicBezTo>
                  <a:cubicBezTo>
                    <a:pt x="81" y="37"/>
                    <a:pt x="84" y="44"/>
                    <a:pt x="85" y="55"/>
                  </a:cubicBezTo>
                  <a:cubicBezTo>
                    <a:pt x="87" y="77"/>
                    <a:pt x="87" y="77"/>
                    <a:pt x="87" y="77"/>
                  </a:cubicBezTo>
                  <a:cubicBezTo>
                    <a:pt x="88" y="88"/>
                    <a:pt x="86" y="96"/>
                    <a:pt x="81" y="103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45" name="Freeform 7"/>
            <p:cNvSpPr>
              <a:spLocks/>
            </p:cNvSpPr>
            <p:nvPr/>
          </p:nvSpPr>
          <p:spPr bwMode="auto">
            <a:xfrm>
              <a:off x="1784351" y="2709863"/>
              <a:ext cx="736600" cy="622300"/>
            </a:xfrm>
            <a:custGeom>
              <a:avLst/>
              <a:gdLst>
                <a:gd name="T0" fmla="*/ 182 w 196"/>
                <a:gd name="T1" fmla="*/ 20 h 165"/>
                <a:gd name="T2" fmla="*/ 165 w 196"/>
                <a:gd name="T3" fmla="*/ 4 h 165"/>
                <a:gd name="T4" fmla="*/ 140 w 196"/>
                <a:gd name="T5" fmla="*/ 2 h 165"/>
                <a:gd name="T6" fmla="*/ 118 w 196"/>
                <a:gd name="T7" fmla="*/ 14 h 165"/>
                <a:gd name="T8" fmla="*/ 103 w 196"/>
                <a:gd name="T9" fmla="*/ 36 h 165"/>
                <a:gd name="T10" fmla="*/ 102 w 196"/>
                <a:gd name="T11" fmla="*/ 35 h 165"/>
                <a:gd name="T12" fmla="*/ 86 w 196"/>
                <a:gd name="T13" fmla="*/ 18 h 165"/>
                <a:gd name="T14" fmla="*/ 61 w 196"/>
                <a:gd name="T15" fmla="*/ 16 h 165"/>
                <a:gd name="T16" fmla="*/ 40 w 196"/>
                <a:gd name="T17" fmla="*/ 27 h 165"/>
                <a:gd name="T18" fmla="*/ 27 w 196"/>
                <a:gd name="T19" fmla="*/ 44 h 165"/>
                <a:gd name="T20" fmla="*/ 26 w 196"/>
                <a:gd name="T21" fmla="*/ 25 h 165"/>
                <a:gd name="T22" fmla="*/ 0 w 196"/>
                <a:gd name="T23" fmla="*/ 29 h 165"/>
                <a:gd name="T24" fmla="*/ 10 w 196"/>
                <a:gd name="T25" fmla="*/ 165 h 165"/>
                <a:gd name="T26" fmla="*/ 36 w 196"/>
                <a:gd name="T27" fmla="*/ 160 h 165"/>
                <a:gd name="T28" fmla="*/ 30 w 196"/>
                <a:gd name="T29" fmla="*/ 74 h 165"/>
                <a:gd name="T30" fmla="*/ 30 w 196"/>
                <a:gd name="T31" fmla="*/ 74 h 165"/>
                <a:gd name="T32" fmla="*/ 35 w 196"/>
                <a:gd name="T33" fmla="*/ 54 h 165"/>
                <a:gd name="T34" fmla="*/ 55 w 196"/>
                <a:gd name="T35" fmla="*/ 43 h 165"/>
                <a:gd name="T36" fmla="*/ 75 w 196"/>
                <a:gd name="T37" fmla="*/ 47 h 165"/>
                <a:gd name="T38" fmla="*/ 84 w 196"/>
                <a:gd name="T39" fmla="*/ 68 h 165"/>
                <a:gd name="T40" fmla="*/ 90 w 196"/>
                <a:gd name="T41" fmla="*/ 150 h 165"/>
                <a:gd name="T42" fmla="*/ 116 w 196"/>
                <a:gd name="T43" fmla="*/ 145 h 165"/>
                <a:gd name="T44" fmla="*/ 110 w 196"/>
                <a:gd name="T45" fmla="*/ 63 h 165"/>
                <a:gd name="T46" fmla="*/ 110 w 196"/>
                <a:gd name="T47" fmla="*/ 62 h 165"/>
                <a:gd name="T48" fmla="*/ 110 w 196"/>
                <a:gd name="T49" fmla="*/ 63 h 165"/>
                <a:gd name="T50" fmla="*/ 115 w 196"/>
                <a:gd name="T51" fmla="*/ 40 h 165"/>
                <a:gd name="T52" fmla="*/ 133 w 196"/>
                <a:gd name="T53" fmla="*/ 29 h 165"/>
                <a:gd name="T54" fmla="*/ 154 w 196"/>
                <a:gd name="T55" fmla="*/ 33 h 165"/>
                <a:gd name="T56" fmla="*/ 163 w 196"/>
                <a:gd name="T57" fmla="*/ 54 h 165"/>
                <a:gd name="T58" fmla="*/ 169 w 196"/>
                <a:gd name="T59" fmla="*/ 136 h 165"/>
                <a:gd name="T60" fmla="*/ 196 w 196"/>
                <a:gd name="T61" fmla="*/ 131 h 165"/>
                <a:gd name="T62" fmla="*/ 190 w 196"/>
                <a:gd name="T63" fmla="*/ 49 h 165"/>
                <a:gd name="T64" fmla="*/ 182 w 196"/>
                <a:gd name="T65" fmla="*/ 2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6" h="165">
                  <a:moveTo>
                    <a:pt x="182" y="20"/>
                  </a:moveTo>
                  <a:cubicBezTo>
                    <a:pt x="178" y="13"/>
                    <a:pt x="172" y="7"/>
                    <a:pt x="165" y="4"/>
                  </a:cubicBezTo>
                  <a:cubicBezTo>
                    <a:pt x="158" y="1"/>
                    <a:pt x="150" y="0"/>
                    <a:pt x="140" y="2"/>
                  </a:cubicBezTo>
                  <a:cubicBezTo>
                    <a:pt x="132" y="4"/>
                    <a:pt x="124" y="8"/>
                    <a:pt x="118" y="14"/>
                  </a:cubicBezTo>
                  <a:cubicBezTo>
                    <a:pt x="111" y="20"/>
                    <a:pt x="107" y="27"/>
                    <a:pt x="103" y="36"/>
                  </a:cubicBezTo>
                  <a:cubicBezTo>
                    <a:pt x="103" y="36"/>
                    <a:pt x="103" y="35"/>
                    <a:pt x="102" y="35"/>
                  </a:cubicBezTo>
                  <a:cubicBezTo>
                    <a:pt x="98" y="27"/>
                    <a:pt x="93" y="22"/>
                    <a:pt x="86" y="18"/>
                  </a:cubicBezTo>
                  <a:cubicBezTo>
                    <a:pt x="79" y="15"/>
                    <a:pt x="71" y="15"/>
                    <a:pt x="61" y="16"/>
                  </a:cubicBezTo>
                  <a:cubicBezTo>
                    <a:pt x="53" y="18"/>
                    <a:pt x="46" y="21"/>
                    <a:pt x="40" y="27"/>
                  </a:cubicBezTo>
                  <a:cubicBezTo>
                    <a:pt x="35" y="31"/>
                    <a:pt x="31" y="37"/>
                    <a:pt x="27" y="4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0" y="165"/>
                    <a:pt x="10" y="165"/>
                    <a:pt x="10" y="165"/>
                  </a:cubicBezTo>
                  <a:cubicBezTo>
                    <a:pt x="36" y="160"/>
                    <a:pt x="36" y="160"/>
                    <a:pt x="36" y="160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29" y="66"/>
                    <a:pt x="31" y="59"/>
                    <a:pt x="35" y="54"/>
                  </a:cubicBezTo>
                  <a:cubicBezTo>
                    <a:pt x="40" y="48"/>
                    <a:pt x="46" y="45"/>
                    <a:pt x="55" y="43"/>
                  </a:cubicBezTo>
                  <a:cubicBezTo>
                    <a:pt x="63" y="42"/>
                    <a:pt x="70" y="43"/>
                    <a:pt x="75" y="47"/>
                  </a:cubicBezTo>
                  <a:cubicBezTo>
                    <a:pt x="80" y="52"/>
                    <a:pt x="83" y="59"/>
                    <a:pt x="84" y="68"/>
                  </a:cubicBezTo>
                  <a:cubicBezTo>
                    <a:pt x="90" y="150"/>
                    <a:pt x="90" y="150"/>
                    <a:pt x="90" y="150"/>
                  </a:cubicBezTo>
                  <a:cubicBezTo>
                    <a:pt x="116" y="145"/>
                    <a:pt x="116" y="145"/>
                    <a:pt x="116" y="145"/>
                  </a:cubicBezTo>
                  <a:cubicBezTo>
                    <a:pt x="110" y="63"/>
                    <a:pt x="110" y="63"/>
                    <a:pt x="110" y="63"/>
                  </a:cubicBezTo>
                  <a:cubicBezTo>
                    <a:pt x="110" y="63"/>
                    <a:pt x="110" y="63"/>
                    <a:pt x="110" y="62"/>
                  </a:cubicBezTo>
                  <a:cubicBezTo>
                    <a:pt x="110" y="63"/>
                    <a:pt x="110" y="63"/>
                    <a:pt x="110" y="63"/>
                  </a:cubicBezTo>
                  <a:cubicBezTo>
                    <a:pt x="109" y="53"/>
                    <a:pt x="111" y="46"/>
                    <a:pt x="115" y="40"/>
                  </a:cubicBezTo>
                  <a:cubicBezTo>
                    <a:pt x="119" y="34"/>
                    <a:pt x="125" y="30"/>
                    <a:pt x="133" y="29"/>
                  </a:cubicBezTo>
                  <a:cubicBezTo>
                    <a:pt x="142" y="27"/>
                    <a:pt x="149" y="29"/>
                    <a:pt x="154" y="33"/>
                  </a:cubicBezTo>
                  <a:cubicBezTo>
                    <a:pt x="160" y="37"/>
                    <a:pt x="163" y="44"/>
                    <a:pt x="163" y="54"/>
                  </a:cubicBezTo>
                  <a:cubicBezTo>
                    <a:pt x="169" y="136"/>
                    <a:pt x="169" y="136"/>
                    <a:pt x="169" y="136"/>
                  </a:cubicBezTo>
                  <a:cubicBezTo>
                    <a:pt x="196" y="131"/>
                    <a:pt x="196" y="131"/>
                    <a:pt x="196" y="131"/>
                  </a:cubicBezTo>
                  <a:cubicBezTo>
                    <a:pt x="190" y="49"/>
                    <a:pt x="190" y="49"/>
                    <a:pt x="190" y="49"/>
                  </a:cubicBezTo>
                  <a:cubicBezTo>
                    <a:pt x="189" y="37"/>
                    <a:pt x="186" y="28"/>
                    <a:pt x="182" y="2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46" name="Freeform 8"/>
            <p:cNvSpPr>
              <a:spLocks/>
            </p:cNvSpPr>
            <p:nvPr/>
          </p:nvSpPr>
          <p:spPr bwMode="auto">
            <a:xfrm>
              <a:off x="2771776" y="2532063"/>
              <a:ext cx="736600" cy="619125"/>
            </a:xfrm>
            <a:custGeom>
              <a:avLst/>
              <a:gdLst>
                <a:gd name="T0" fmla="*/ 182 w 196"/>
                <a:gd name="T1" fmla="*/ 20 h 164"/>
                <a:gd name="T2" fmla="*/ 165 w 196"/>
                <a:gd name="T3" fmla="*/ 4 h 164"/>
                <a:gd name="T4" fmla="*/ 140 w 196"/>
                <a:gd name="T5" fmla="*/ 2 h 164"/>
                <a:gd name="T6" fmla="*/ 118 w 196"/>
                <a:gd name="T7" fmla="*/ 13 h 164"/>
                <a:gd name="T8" fmla="*/ 103 w 196"/>
                <a:gd name="T9" fmla="*/ 36 h 164"/>
                <a:gd name="T10" fmla="*/ 102 w 196"/>
                <a:gd name="T11" fmla="*/ 34 h 164"/>
                <a:gd name="T12" fmla="*/ 86 w 196"/>
                <a:gd name="T13" fmla="*/ 18 h 164"/>
                <a:gd name="T14" fmla="*/ 61 w 196"/>
                <a:gd name="T15" fmla="*/ 16 h 164"/>
                <a:gd name="T16" fmla="*/ 40 w 196"/>
                <a:gd name="T17" fmla="*/ 27 h 164"/>
                <a:gd name="T18" fmla="*/ 27 w 196"/>
                <a:gd name="T19" fmla="*/ 43 h 164"/>
                <a:gd name="T20" fmla="*/ 26 w 196"/>
                <a:gd name="T21" fmla="*/ 24 h 164"/>
                <a:gd name="T22" fmla="*/ 0 w 196"/>
                <a:gd name="T23" fmla="*/ 29 h 164"/>
                <a:gd name="T24" fmla="*/ 10 w 196"/>
                <a:gd name="T25" fmla="*/ 164 h 164"/>
                <a:gd name="T26" fmla="*/ 36 w 196"/>
                <a:gd name="T27" fmla="*/ 159 h 164"/>
                <a:gd name="T28" fmla="*/ 30 w 196"/>
                <a:gd name="T29" fmla="*/ 74 h 164"/>
                <a:gd name="T30" fmla="*/ 30 w 196"/>
                <a:gd name="T31" fmla="*/ 74 h 164"/>
                <a:gd name="T32" fmla="*/ 35 w 196"/>
                <a:gd name="T33" fmla="*/ 53 h 164"/>
                <a:gd name="T34" fmla="*/ 55 w 196"/>
                <a:gd name="T35" fmla="*/ 43 h 164"/>
                <a:gd name="T36" fmla="*/ 75 w 196"/>
                <a:gd name="T37" fmla="*/ 47 h 164"/>
                <a:gd name="T38" fmla="*/ 84 w 196"/>
                <a:gd name="T39" fmla="*/ 68 h 164"/>
                <a:gd name="T40" fmla="*/ 90 w 196"/>
                <a:gd name="T41" fmla="*/ 150 h 164"/>
                <a:gd name="T42" fmla="*/ 116 w 196"/>
                <a:gd name="T43" fmla="*/ 145 h 164"/>
                <a:gd name="T44" fmla="*/ 110 w 196"/>
                <a:gd name="T45" fmla="*/ 63 h 164"/>
                <a:gd name="T46" fmla="*/ 110 w 196"/>
                <a:gd name="T47" fmla="*/ 62 h 164"/>
                <a:gd name="T48" fmla="*/ 110 w 196"/>
                <a:gd name="T49" fmla="*/ 62 h 164"/>
                <a:gd name="T50" fmla="*/ 115 w 196"/>
                <a:gd name="T51" fmla="*/ 40 h 164"/>
                <a:gd name="T52" fmla="*/ 133 w 196"/>
                <a:gd name="T53" fmla="*/ 29 h 164"/>
                <a:gd name="T54" fmla="*/ 154 w 196"/>
                <a:gd name="T55" fmla="*/ 33 h 164"/>
                <a:gd name="T56" fmla="*/ 163 w 196"/>
                <a:gd name="T57" fmla="*/ 53 h 164"/>
                <a:gd name="T58" fmla="*/ 169 w 196"/>
                <a:gd name="T59" fmla="*/ 135 h 164"/>
                <a:gd name="T60" fmla="*/ 196 w 196"/>
                <a:gd name="T61" fmla="*/ 131 h 164"/>
                <a:gd name="T62" fmla="*/ 190 w 196"/>
                <a:gd name="T63" fmla="*/ 49 h 164"/>
                <a:gd name="T64" fmla="*/ 182 w 196"/>
                <a:gd name="T65" fmla="*/ 2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6" h="164">
                  <a:moveTo>
                    <a:pt x="182" y="20"/>
                  </a:moveTo>
                  <a:cubicBezTo>
                    <a:pt x="178" y="12"/>
                    <a:pt x="172" y="7"/>
                    <a:pt x="165" y="4"/>
                  </a:cubicBezTo>
                  <a:cubicBezTo>
                    <a:pt x="158" y="1"/>
                    <a:pt x="150" y="0"/>
                    <a:pt x="140" y="2"/>
                  </a:cubicBezTo>
                  <a:cubicBezTo>
                    <a:pt x="132" y="3"/>
                    <a:pt x="124" y="7"/>
                    <a:pt x="118" y="13"/>
                  </a:cubicBezTo>
                  <a:cubicBezTo>
                    <a:pt x="111" y="19"/>
                    <a:pt x="107" y="27"/>
                    <a:pt x="103" y="36"/>
                  </a:cubicBezTo>
                  <a:cubicBezTo>
                    <a:pt x="103" y="35"/>
                    <a:pt x="103" y="35"/>
                    <a:pt x="102" y="34"/>
                  </a:cubicBezTo>
                  <a:cubicBezTo>
                    <a:pt x="98" y="26"/>
                    <a:pt x="93" y="21"/>
                    <a:pt x="86" y="18"/>
                  </a:cubicBezTo>
                  <a:cubicBezTo>
                    <a:pt x="79" y="15"/>
                    <a:pt x="71" y="14"/>
                    <a:pt x="61" y="16"/>
                  </a:cubicBezTo>
                  <a:cubicBezTo>
                    <a:pt x="53" y="17"/>
                    <a:pt x="46" y="21"/>
                    <a:pt x="40" y="27"/>
                  </a:cubicBezTo>
                  <a:cubicBezTo>
                    <a:pt x="35" y="31"/>
                    <a:pt x="31" y="37"/>
                    <a:pt x="27" y="43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0" y="164"/>
                    <a:pt x="10" y="164"/>
                    <a:pt x="10" y="164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29" y="66"/>
                    <a:pt x="31" y="59"/>
                    <a:pt x="35" y="53"/>
                  </a:cubicBezTo>
                  <a:cubicBezTo>
                    <a:pt x="40" y="48"/>
                    <a:pt x="46" y="44"/>
                    <a:pt x="55" y="43"/>
                  </a:cubicBezTo>
                  <a:cubicBezTo>
                    <a:pt x="63" y="41"/>
                    <a:pt x="70" y="43"/>
                    <a:pt x="75" y="47"/>
                  </a:cubicBezTo>
                  <a:cubicBezTo>
                    <a:pt x="80" y="51"/>
                    <a:pt x="83" y="58"/>
                    <a:pt x="84" y="68"/>
                  </a:cubicBezTo>
                  <a:cubicBezTo>
                    <a:pt x="90" y="150"/>
                    <a:pt x="90" y="150"/>
                    <a:pt x="90" y="150"/>
                  </a:cubicBezTo>
                  <a:cubicBezTo>
                    <a:pt x="116" y="145"/>
                    <a:pt x="116" y="145"/>
                    <a:pt x="116" y="145"/>
                  </a:cubicBezTo>
                  <a:cubicBezTo>
                    <a:pt x="110" y="63"/>
                    <a:pt x="110" y="63"/>
                    <a:pt x="110" y="63"/>
                  </a:cubicBezTo>
                  <a:cubicBezTo>
                    <a:pt x="110" y="63"/>
                    <a:pt x="110" y="62"/>
                    <a:pt x="110" y="62"/>
                  </a:cubicBezTo>
                  <a:cubicBezTo>
                    <a:pt x="110" y="62"/>
                    <a:pt x="110" y="62"/>
                    <a:pt x="110" y="62"/>
                  </a:cubicBezTo>
                  <a:cubicBezTo>
                    <a:pt x="109" y="53"/>
                    <a:pt x="111" y="45"/>
                    <a:pt x="115" y="40"/>
                  </a:cubicBezTo>
                  <a:cubicBezTo>
                    <a:pt x="119" y="34"/>
                    <a:pt x="125" y="30"/>
                    <a:pt x="133" y="29"/>
                  </a:cubicBezTo>
                  <a:cubicBezTo>
                    <a:pt x="142" y="27"/>
                    <a:pt x="149" y="28"/>
                    <a:pt x="154" y="33"/>
                  </a:cubicBezTo>
                  <a:cubicBezTo>
                    <a:pt x="160" y="37"/>
                    <a:pt x="163" y="44"/>
                    <a:pt x="163" y="53"/>
                  </a:cubicBezTo>
                  <a:cubicBezTo>
                    <a:pt x="169" y="135"/>
                    <a:pt x="169" y="135"/>
                    <a:pt x="169" y="135"/>
                  </a:cubicBezTo>
                  <a:cubicBezTo>
                    <a:pt x="196" y="131"/>
                    <a:pt x="196" y="131"/>
                    <a:pt x="196" y="131"/>
                  </a:cubicBezTo>
                  <a:cubicBezTo>
                    <a:pt x="190" y="49"/>
                    <a:pt x="190" y="49"/>
                    <a:pt x="190" y="49"/>
                  </a:cubicBezTo>
                  <a:cubicBezTo>
                    <a:pt x="189" y="37"/>
                    <a:pt x="186" y="27"/>
                    <a:pt x="182" y="2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47" name="Freeform 9"/>
            <p:cNvSpPr>
              <a:spLocks/>
            </p:cNvSpPr>
            <p:nvPr/>
          </p:nvSpPr>
          <p:spPr bwMode="auto">
            <a:xfrm>
              <a:off x="3759201" y="2389188"/>
              <a:ext cx="434975" cy="569913"/>
            </a:xfrm>
            <a:custGeom>
              <a:avLst/>
              <a:gdLst>
                <a:gd name="T0" fmla="*/ 80 w 116"/>
                <a:gd name="T1" fmla="*/ 5 h 151"/>
                <a:gd name="T2" fmla="*/ 87 w 116"/>
                <a:gd name="T3" fmla="*/ 90 h 151"/>
                <a:gd name="T4" fmla="*/ 87 w 116"/>
                <a:gd name="T5" fmla="*/ 90 h 151"/>
                <a:gd name="T6" fmla="*/ 81 w 116"/>
                <a:gd name="T7" fmla="*/ 111 h 151"/>
                <a:gd name="T8" fmla="*/ 61 w 116"/>
                <a:gd name="T9" fmla="*/ 122 h 151"/>
                <a:gd name="T10" fmla="*/ 41 w 116"/>
                <a:gd name="T11" fmla="*/ 118 h 151"/>
                <a:gd name="T12" fmla="*/ 32 w 116"/>
                <a:gd name="T13" fmla="*/ 97 h 151"/>
                <a:gd name="T14" fmla="*/ 26 w 116"/>
                <a:gd name="T15" fmla="*/ 15 h 151"/>
                <a:gd name="T16" fmla="*/ 0 w 116"/>
                <a:gd name="T17" fmla="*/ 20 h 151"/>
                <a:gd name="T18" fmla="*/ 6 w 116"/>
                <a:gd name="T19" fmla="*/ 102 h 151"/>
                <a:gd name="T20" fmla="*/ 21 w 116"/>
                <a:gd name="T21" fmla="*/ 140 h 151"/>
                <a:gd name="T22" fmla="*/ 56 w 116"/>
                <a:gd name="T23" fmla="*/ 148 h 151"/>
                <a:gd name="T24" fmla="*/ 78 w 116"/>
                <a:gd name="T25" fmla="*/ 137 h 151"/>
                <a:gd name="T26" fmla="*/ 89 w 116"/>
                <a:gd name="T27" fmla="*/ 122 h 151"/>
                <a:gd name="T28" fmla="*/ 90 w 116"/>
                <a:gd name="T29" fmla="*/ 140 h 151"/>
                <a:gd name="T30" fmla="*/ 116 w 116"/>
                <a:gd name="T31" fmla="*/ 135 h 151"/>
                <a:gd name="T32" fmla="*/ 107 w 116"/>
                <a:gd name="T33" fmla="*/ 0 h 151"/>
                <a:gd name="T34" fmla="*/ 80 w 116"/>
                <a:gd name="T35" fmla="*/ 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6" h="151">
                  <a:moveTo>
                    <a:pt x="80" y="5"/>
                  </a:moveTo>
                  <a:cubicBezTo>
                    <a:pt x="87" y="90"/>
                    <a:pt x="87" y="90"/>
                    <a:pt x="87" y="90"/>
                  </a:cubicBezTo>
                  <a:cubicBezTo>
                    <a:pt x="87" y="90"/>
                    <a:pt x="87" y="90"/>
                    <a:pt x="87" y="90"/>
                  </a:cubicBezTo>
                  <a:cubicBezTo>
                    <a:pt x="87" y="99"/>
                    <a:pt x="85" y="106"/>
                    <a:pt x="81" y="111"/>
                  </a:cubicBezTo>
                  <a:cubicBezTo>
                    <a:pt x="77" y="117"/>
                    <a:pt x="70" y="120"/>
                    <a:pt x="61" y="122"/>
                  </a:cubicBezTo>
                  <a:cubicBezTo>
                    <a:pt x="53" y="123"/>
                    <a:pt x="46" y="122"/>
                    <a:pt x="41" y="118"/>
                  </a:cubicBezTo>
                  <a:cubicBezTo>
                    <a:pt x="36" y="113"/>
                    <a:pt x="33" y="106"/>
                    <a:pt x="32" y="97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7" y="119"/>
                    <a:pt x="12" y="132"/>
                    <a:pt x="21" y="140"/>
                  </a:cubicBezTo>
                  <a:cubicBezTo>
                    <a:pt x="29" y="148"/>
                    <a:pt x="41" y="151"/>
                    <a:pt x="56" y="148"/>
                  </a:cubicBezTo>
                  <a:cubicBezTo>
                    <a:pt x="65" y="147"/>
                    <a:pt x="72" y="143"/>
                    <a:pt x="78" y="137"/>
                  </a:cubicBezTo>
                  <a:cubicBezTo>
                    <a:pt x="83" y="133"/>
                    <a:pt x="87" y="128"/>
                    <a:pt x="89" y="122"/>
                  </a:cubicBezTo>
                  <a:cubicBezTo>
                    <a:pt x="90" y="140"/>
                    <a:pt x="90" y="140"/>
                    <a:pt x="90" y="140"/>
                  </a:cubicBezTo>
                  <a:cubicBezTo>
                    <a:pt x="116" y="135"/>
                    <a:pt x="116" y="135"/>
                    <a:pt x="116" y="135"/>
                  </a:cubicBezTo>
                  <a:cubicBezTo>
                    <a:pt x="107" y="0"/>
                    <a:pt x="107" y="0"/>
                    <a:pt x="107" y="0"/>
                  </a:cubicBezTo>
                  <a:lnTo>
                    <a:pt x="80" y="5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48" name="Freeform 10"/>
            <p:cNvSpPr>
              <a:spLocks/>
            </p:cNvSpPr>
            <p:nvPr/>
          </p:nvSpPr>
          <p:spPr bwMode="auto">
            <a:xfrm>
              <a:off x="4446588" y="2279650"/>
              <a:ext cx="442913" cy="569913"/>
            </a:xfrm>
            <a:custGeom>
              <a:avLst/>
              <a:gdLst>
                <a:gd name="T0" fmla="*/ 97 w 118"/>
                <a:gd name="T1" fmla="*/ 11 h 151"/>
                <a:gd name="T2" fmla="*/ 62 w 118"/>
                <a:gd name="T3" fmla="*/ 2 h 151"/>
                <a:gd name="T4" fmla="*/ 41 w 118"/>
                <a:gd name="T5" fmla="*/ 13 h 151"/>
                <a:gd name="T6" fmla="*/ 28 w 118"/>
                <a:gd name="T7" fmla="*/ 30 h 151"/>
                <a:gd name="T8" fmla="*/ 27 w 118"/>
                <a:gd name="T9" fmla="*/ 11 h 151"/>
                <a:gd name="T10" fmla="*/ 0 w 118"/>
                <a:gd name="T11" fmla="*/ 15 h 151"/>
                <a:gd name="T12" fmla="*/ 10 w 118"/>
                <a:gd name="T13" fmla="*/ 151 h 151"/>
                <a:gd name="T14" fmla="*/ 37 w 118"/>
                <a:gd name="T15" fmla="*/ 146 h 151"/>
                <a:gd name="T16" fmla="*/ 30 w 118"/>
                <a:gd name="T17" fmla="*/ 60 h 151"/>
                <a:gd name="T18" fmla="*/ 30 w 118"/>
                <a:gd name="T19" fmla="*/ 60 h 151"/>
                <a:gd name="T20" fmla="*/ 36 w 118"/>
                <a:gd name="T21" fmla="*/ 40 h 151"/>
                <a:gd name="T22" fmla="*/ 55 w 118"/>
                <a:gd name="T23" fmla="*/ 29 h 151"/>
                <a:gd name="T24" fmla="*/ 77 w 118"/>
                <a:gd name="T25" fmla="*/ 33 h 151"/>
                <a:gd name="T26" fmla="*/ 86 w 118"/>
                <a:gd name="T27" fmla="*/ 54 h 151"/>
                <a:gd name="T28" fmla="*/ 92 w 118"/>
                <a:gd name="T29" fmla="*/ 136 h 151"/>
                <a:gd name="T30" fmla="*/ 118 w 118"/>
                <a:gd name="T31" fmla="*/ 131 h 151"/>
                <a:gd name="T32" fmla="*/ 112 w 118"/>
                <a:gd name="T33" fmla="*/ 49 h 151"/>
                <a:gd name="T34" fmla="*/ 97 w 118"/>
                <a:gd name="T35" fmla="*/ 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" h="151">
                  <a:moveTo>
                    <a:pt x="97" y="11"/>
                  </a:moveTo>
                  <a:cubicBezTo>
                    <a:pt x="88" y="2"/>
                    <a:pt x="77" y="0"/>
                    <a:pt x="62" y="2"/>
                  </a:cubicBezTo>
                  <a:cubicBezTo>
                    <a:pt x="54" y="4"/>
                    <a:pt x="47" y="7"/>
                    <a:pt x="41" y="13"/>
                  </a:cubicBezTo>
                  <a:cubicBezTo>
                    <a:pt x="35" y="17"/>
                    <a:pt x="31" y="23"/>
                    <a:pt x="28" y="30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37" y="146"/>
                    <a:pt x="37" y="146"/>
                    <a:pt x="37" y="146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0" y="52"/>
                    <a:pt x="32" y="45"/>
                    <a:pt x="36" y="40"/>
                  </a:cubicBezTo>
                  <a:cubicBezTo>
                    <a:pt x="40" y="34"/>
                    <a:pt x="47" y="31"/>
                    <a:pt x="55" y="29"/>
                  </a:cubicBezTo>
                  <a:cubicBezTo>
                    <a:pt x="64" y="28"/>
                    <a:pt x="71" y="29"/>
                    <a:pt x="77" y="33"/>
                  </a:cubicBezTo>
                  <a:cubicBezTo>
                    <a:pt x="82" y="38"/>
                    <a:pt x="85" y="44"/>
                    <a:pt x="86" y="54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118" y="131"/>
                    <a:pt x="118" y="131"/>
                    <a:pt x="118" y="131"/>
                  </a:cubicBezTo>
                  <a:cubicBezTo>
                    <a:pt x="112" y="49"/>
                    <a:pt x="112" y="49"/>
                    <a:pt x="112" y="49"/>
                  </a:cubicBezTo>
                  <a:cubicBezTo>
                    <a:pt x="111" y="32"/>
                    <a:pt x="106" y="19"/>
                    <a:pt x="97" y="11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49" name="Freeform 11"/>
            <p:cNvSpPr>
              <a:spLocks/>
            </p:cNvSpPr>
            <p:nvPr/>
          </p:nvSpPr>
          <p:spPr bwMode="auto">
            <a:xfrm>
              <a:off x="5126038" y="1989138"/>
              <a:ext cx="104775" cy="120650"/>
            </a:xfrm>
            <a:custGeom>
              <a:avLst/>
              <a:gdLst>
                <a:gd name="T0" fmla="*/ 61 w 66"/>
                <a:gd name="T1" fmla="*/ 0 h 76"/>
                <a:gd name="T2" fmla="*/ 0 w 66"/>
                <a:gd name="T3" fmla="*/ 12 h 76"/>
                <a:gd name="T4" fmla="*/ 5 w 66"/>
                <a:gd name="T5" fmla="*/ 76 h 76"/>
                <a:gd name="T6" fmla="*/ 66 w 66"/>
                <a:gd name="T7" fmla="*/ 64 h 76"/>
                <a:gd name="T8" fmla="*/ 61 w 66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6">
                  <a:moveTo>
                    <a:pt x="61" y="0"/>
                  </a:moveTo>
                  <a:lnTo>
                    <a:pt x="0" y="12"/>
                  </a:lnTo>
                  <a:lnTo>
                    <a:pt x="5" y="76"/>
                  </a:lnTo>
                  <a:lnTo>
                    <a:pt x="66" y="64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0" name="Freeform 12"/>
            <p:cNvSpPr>
              <a:spLocks/>
            </p:cNvSpPr>
            <p:nvPr/>
          </p:nvSpPr>
          <p:spPr bwMode="auto">
            <a:xfrm>
              <a:off x="5140326" y="2192338"/>
              <a:ext cx="134938" cy="528638"/>
            </a:xfrm>
            <a:custGeom>
              <a:avLst/>
              <a:gdLst>
                <a:gd name="T0" fmla="*/ 0 w 85"/>
                <a:gd name="T1" fmla="*/ 12 h 333"/>
                <a:gd name="T2" fmla="*/ 24 w 85"/>
                <a:gd name="T3" fmla="*/ 333 h 333"/>
                <a:gd name="T4" fmla="*/ 85 w 85"/>
                <a:gd name="T5" fmla="*/ 323 h 333"/>
                <a:gd name="T6" fmla="*/ 62 w 85"/>
                <a:gd name="T7" fmla="*/ 0 h 333"/>
                <a:gd name="T8" fmla="*/ 0 w 85"/>
                <a:gd name="T9" fmla="*/ 12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333">
                  <a:moveTo>
                    <a:pt x="0" y="12"/>
                  </a:moveTo>
                  <a:lnTo>
                    <a:pt x="24" y="333"/>
                  </a:lnTo>
                  <a:lnTo>
                    <a:pt x="85" y="323"/>
                  </a:lnTo>
                  <a:lnTo>
                    <a:pt x="62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1" name="Freeform 13"/>
            <p:cNvSpPr>
              <a:spLocks/>
            </p:cNvSpPr>
            <p:nvPr/>
          </p:nvSpPr>
          <p:spPr bwMode="auto">
            <a:xfrm>
              <a:off x="5524501" y="2090738"/>
              <a:ext cx="419100" cy="542925"/>
            </a:xfrm>
            <a:custGeom>
              <a:avLst/>
              <a:gdLst>
                <a:gd name="T0" fmla="*/ 79 w 112"/>
                <a:gd name="T1" fmla="*/ 109 h 144"/>
                <a:gd name="T2" fmla="*/ 64 w 112"/>
                <a:gd name="T3" fmla="*/ 116 h 144"/>
                <a:gd name="T4" fmla="*/ 39 w 112"/>
                <a:gd name="T5" fmla="*/ 111 h 144"/>
                <a:gd name="T6" fmla="*/ 29 w 112"/>
                <a:gd name="T7" fmla="*/ 88 h 144"/>
                <a:gd name="T8" fmla="*/ 28 w 112"/>
                <a:gd name="T9" fmla="*/ 66 h 144"/>
                <a:gd name="T10" fmla="*/ 34 w 112"/>
                <a:gd name="T11" fmla="*/ 40 h 144"/>
                <a:gd name="T12" fmla="*/ 57 w 112"/>
                <a:gd name="T13" fmla="*/ 27 h 144"/>
                <a:gd name="T14" fmla="*/ 73 w 112"/>
                <a:gd name="T15" fmla="*/ 28 h 144"/>
                <a:gd name="T16" fmla="*/ 87 w 112"/>
                <a:gd name="T17" fmla="*/ 35 h 144"/>
                <a:gd name="T18" fmla="*/ 105 w 112"/>
                <a:gd name="T19" fmla="*/ 15 h 144"/>
                <a:gd name="T20" fmla="*/ 92 w 112"/>
                <a:gd name="T21" fmla="*/ 5 h 144"/>
                <a:gd name="T22" fmla="*/ 75 w 112"/>
                <a:gd name="T23" fmla="*/ 1 h 144"/>
                <a:gd name="T24" fmla="*/ 55 w 112"/>
                <a:gd name="T25" fmla="*/ 2 h 144"/>
                <a:gd name="T26" fmla="*/ 24 w 112"/>
                <a:gd name="T27" fmla="*/ 14 h 144"/>
                <a:gd name="T28" fmla="*/ 6 w 112"/>
                <a:gd name="T29" fmla="*/ 38 h 144"/>
                <a:gd name="T30" fmla="*/ 1 w 112"/>
                <a:gd name="T31" fmla="*/ 70 h 144"/>
                <a:gd name="T32" fmla="*/ 3 w 112"/>
                <a:gd name="T33" fmla="*/ 93 h 144"/>
                <a:gd name="T34" fmla="*/ 12 w 112"/>
                <a:gd name="T35" fmla="*/ 123 h 144"/>
                <a:gd name="T36" fmla="*/ 33 w 112"/>
                <a:gd name="T37" fmla="*/ 140 h 144"/>
                <a:gd name="T38" fmla="*/ 47 w 112"/>
                <a:gd name="T39" fmla="*/ 144 h 144"/>
                <a:gd name="T40" fmla="*/ 65 w 112"/>
                <a:gd name="T41" fmla="*/ 141 h 144"/>
                <a:gd name="T42" fmla="*/ 84 w 112"/>
                <a:gd name="T43" fmla="*/ 135 h 144"/>
                <a:gd name="T44" fmla="*/ 100 w 112"/>
                <a:gd name="T45" fmla="*/ 125 h 144"/>
                <a:gd name="T46" fmla="*/ 112 w 112"/>
                <a:gd name="T47" fmla="*/ 111 h 144"/>
                <a:gd name="T48" fmla="*/ 92 w 112"/>
                <a:gd name="T49" fmla="*/ 96 h 144"/>
                <a:gd name="T50" fmla="*/ 79 w 112"/>
                <a:gd name="T51" fmla="*/ 10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2" h="144">
                  <a:moveTo>
                    <a:pt x="79" y="109"/>
                  </a:moveTo>
                  <a:cubicBezTo>
                    <a:pt x="74" y="112"/>
                    <a:pt x="69" y="115"/>
                    <a:pt x="64" y="116"/>
                  </a:cubicBezTo>
                  <a:cubicBezTo>
                    <a:pt x="53" y="117"/>
                    <a:pt x="45" y="116"/>
                    <a:pt x="39" y="111"/>
                  </a:cubicBezTo>
                  <a:cubicBezTo>
                    <a:pt x="33" y="106"/>
                    <a:pt x="30" y="99"/>
                    <a:pt x="29" y="88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7" y="55"/>
                    <a:pt x="29" y="47"/>
                    <a:pt x="34" y="40"/>
                  </a:cubicBezTo>
                  <a:cubicBezTo>
                    <a:pt x="39" y="33"/>
                    <a:pt x="47" y="29"/>
                    <a:pt x="57" y="27"/>
                  </a:cubicBezTo>
                  <a:cubicBezTo>
                    <a:pt x="63" y="26"/>
                    <a:pt x="68" y="26"/>
                    <a:pt x="73" y="28"/>
                  </a:cubicBezTo>
                  <a:cubicBezTo>
                    <a:pt x="78" y="29"/>
                    <a:pt x="83" y="32"/>
                    <a:pt x="87" y="35"/>
                  </a:cubicBezTo>
                  <a:cubicBezTo>
                    <a:pt x="105" y="15"/>
                    <a:pt x="105" y="15"/>
                    <a:pt x="105" y="15"/>
                  </a:cubicBezTo>
                  <a:cubicBezTo>
                    <a:pt x="101" y="11"/>
                    <a:pt x="97" y="8"/>
                    <a:pt x="92" y="5"/>
                  </a:cubicBezTo>
                  <a:cubicBezTo>
                    <a:pt x="87" y="3"/>
                    <a:pt x="81" y="1"/>
                    <a:pt x="75" y="1"/>
                  </a:cubicBezTo>
                  <a:cubicBezTo>
                    <a:pt x="68" y="0"/>
                    <a:pt x="62" y="1"/>
                    <a:pt x="55" y="2"/>
                  </a:cubicBezTo>
                  <a:cubicBezTo>
                    <a:pt x="43" y="4"/>
                    <a:pt x="32" y="8"/>
                    <a:pt x="24" y="14"/>
                  </a:cubicBezTo>
                  <a:cubicBezTo>
                    <a:pt x="16" y="20"/>
                    <a:pt x="10" y="28"/>
                    <a:pt x="6" y="38"/>
                  </a:cubicBezTo>
                  <a:cubicBezTo>
                    <a:pt x="2" y="47"/>
                    <a:pt x="0" y="58"/>
                    <a:pt x="1" y="70"/>
                  </a:cubicBezTo>
                  <a:cubicBezTo>
                    <a:pt x="3" y="93"/>
                    <a:pt x="3" y="93"/>
                    <a:pt x="3" y="93"/>
                  </a:cubicBezTo>
                  <a:cubicBezTo>
                    <a:pt x="4" y="105"/>
                    <a:pt x="7" y="115"/>
                    <a:pt x="12" y="123"/>
                  </a:cubicBezTo>
                  <a:cubicBezTo>
                    <a:pt x="17" y="131"/>
                    <a:pt x="24" y="137"/>
                    <a:pt x="33" y="140"/>
                  </a:cubicBezTo>
                  <a:cubicBezTo>
                    <a:pt x="42" y="143"/>
                    <a:pt x="47" y="144"/>
                    <a:pt x="47" y="144"/>
                  </a:cubicBezTo>
                  <a:cubicBezTo>
                    <a:pt x="47" y="144"/>
                    <a:pt x="53" y="143"/>
                    <a:pt x="65" y="141"/>
                  </a:cubicBezTo>
                  <a:cubicBezTo>
                    <a:pt x="72" y="140"/>
                    <a:pt x="78" y="138"/>
                    <a:pt x="84" y="135"/>
                  </a:cubicBezTo>
                  <a:cubicBezTo>
                    <a:pt x="90" y="132"/>
                    <a:pt x="96" y="129"/>
                    <a:pt x="100" y="125"/>
                  </a:cubicBezTo>
                  <a:cubicBezTo>
                    <a:pt x="105" y="121"/>
                    <a:pt x="109" y="116"/>
                    <a:pt x="112" y="111"/>
                  </a:cubicBezTo>
                  <a:cubicBezTo>
                    <a:pt x="92" y="96"/>
                    <a:pt x="92" y="96"/>
                    <a:pt x="92" y="96"/>
                  </a:cubicBezTo>
                  <a:cubicBezTo>
                    <a:pt x="88" y="101"/>
                    <a:pt x="84" y="105"/>
                    <a:pt x="79" y="109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2" name="Freeform 14"/>
            <p:cNvSpPr>
              <a:spLocks noEditPoints="1"/>
            </p:cNvSpPr>
            <p:nvPr/>
          </p:nvSpPr>
          <p:spPr bwMode="auto">
            <a:xfrm>
              <a:off x="6157913" y="1981200"/>
              <a:ext cx="417513" cy="547688"/>
            </a:xfrm>
            <a:custGeom>
              <a:avLst/>
              <a:gdLst>
                <a:gd name="T0" fmla="*/ 96 w 111"/>
                <a:gd name="T1" fmla="*/ 16 h 145"/>
                <a:gd name="T2" fmla="*/ 77 w 111"/>
                <a:gd name="T3" fmla="*/ 2 h 145"/>
                <a:gd name="T4" fmla="*/ 48 w 111"/>
                <a:gd name="T5" fmla="*/ 2 h 145"/>
                <a:gd name="T6" fmla="*/ 21 w 111"/>
                <a:gd name="T7" fmla="*/ 12 h 145"/>
                <a:gd name="T8" fmla="*/ 2 w 111"/>
                <a:gd name="T9" fmla="*/ 30 h 145"/>
                <a:gd name="T10" fmla="*/ 22 w 111"/>
                <a:gd name="T11" fmla="*/ 40 h 145"/>
                <a:gd name="T12" fmla="*/ 35 w 111"/>
                <a:gd name="T13" fmla="*/ 30 h 145"/>
                <a:gd name="T14" fmla="*/ 51 w 111"/>
                <a:gd name="T15" fmla="*/ 25 h 145"/>
                <a:gd name="T16" fmla="*/ 71 w 111"/>
                <a:gd name="T17" fmla="*/ 29 h 145"/>
                <a:gd name="T18" fmla="*/ 80 w 111"/>
                <a:gd name="T19" fmla="*/ 48 h 145"/>
                <a:gd name="T20" fmla="*/ 80 w 111"/>
                <a:gd name="T21" fmla="*/ 54 h 145"/>
                <a:gd name="T22" fmla="*/ 43 w 111"/>
                <a:gd name="T23" fmla="*/ 60 h 145"/>
                <a:gd name="T24" fmla="*/ 10 w 111"/>
                <a:gd name="T25" fmla="*/ 77 h 145"/>
                <a:gd name="T26" fmla="*/ 1 w 111"/>
                <a:gd name="T27" fmla="*/ 109 h 145"/>
                <a:gd name="T28" fmla="*/ 15 w 111"/>
                <a:gd name="T29" fmla="*/ 138 h 145"/>
                <a:gd name="T30" fmla="*/ 53 w 111"/>
                <a:gd name="T31" fmla="*/ 142 h 145"/>
                <a:gd name="T32" fmla="*/ 68 w 111"/>
                <a:gd name="T33" fmla="*/ 137 h 145"/>
                <a:gd name="T34" fmla="*/ 80 w 111"/>
                <a:gd name="T35" fmla="*/ 130 h 145"/>
                <a:gd name="T36" fmla="*/ 85 w 111"/>
                <a:gd name="T37" fmla="*/ 123 h 145"/>
                <a:gd name="T38" fmla="*/ 86 w 111"/>
                <a:gd name="T39" fmla="*/ 134 h 145"/>
                <a:gd name="T40" fmla="*/ 111 w 111"/>
                <a:gd name="T41" fmla="*/ 129 h 145"/>
                <a:gd name="T42" fmla="*/ 104 w 111"/>
                <a:gd name="T43" fmla="*/ 42 h 145"/>
                <a:gd name="T44" fmla="*/ 96 w 111"/>
                <a:gd name="T45" fmla="*/ 16 h 145"/>
                <a:gd name="T46" fmla="*/ 77 w 111"/>
                <a:gd name="T47" fmla="*/ 112 h 145"/>
                <a:gd name="T48" fmla="*/ 54 w 111"/>
                <a:gd name="T49" fmla="*/ 119 h 145"/>
                <a:gd name="T50" fmla="*/ 34 w 111"/>
                <a:gd name="T51" fmla="*/ 118 h 145"/>
                <a:gd name="T52" fmla="*/ 26 w 111"/>
                <a:gd name="T53" fmla="*/ 104 h 145"/>
                <a:gd name="T54" fmla="*/ 30 w 111"/>
                <a:gd name="T55" fmla="*/ 89 h 145"/>
                <a:gd name="T56" fmla="*/ 45 w 111"/>
                <a:gd name="T57" fmla="*/ 82 h 145"/>
                <a:gd name="T58" fmla="*/ 81 w 111"/>
                <a:gd name="T59" fmla="*/ 75 h 145"/>
                <a:gd name="T60" fmla="*/ 83 w 111"/>
                <a:gd name="T61" fmla="*/ 101 h 145"/>
                <a:gd name="T62" fmla="*/ 83 w 111"/>
                <a:gd name="T63" fmla="*/ 101 h 145"/>
                <a:gd name="T64" fmla="*/ 77 w 111"/>
                <a:gd name="T65" fmla="*/ 11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1" h="145">
                  <a:moveTo>
                    <a:pt x="96" y="16"/>
                  </a:moveTo>
                  <a:cubicBezTo>
                    <a:pt x="92" y="10"/>
                    <a:pt x="85" y="5"/>
                    <a:pt x="77" y="2"/>
                  </a:cubicBezTo>
                  <a:cubicBezTo>
                    <a:pt x="69" y="0"/>
                    <a:pt x="59" y="0"/>
                    <a:pt x="48" y="2"/>
                  </a:cubicBezTo>
                  <a:cubicBezTo>
                    <a:pt x="38" y="3"/>
                    <a:pt x="29" y="7"/>
                    <a:pt x="21" y="12"/>
                  </a:cubicBezTo>
                  <a:cubicBezTo>
                    <a:pt x="13" y="17"/>
                    <a:pt x="6" y="23"/>
                    <a:pt x="2" y="30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6" y="36"/>
                    <a:pt x="30" y="33"/>
                    <a:pt x="35" y="30"/>
                  </a:cubicBezTo>
                  <a:cubicBezTo>
                    <a:pt x="40" y="28"/>
                    <a:pt x="45" y="26"/>
                    <a:pt x="51" y="25"/>
                  </a:cubicBezTo>
                  <a:cubicBezTo>
                    <a:pt x="59" y="23"/>
                    <a:pt x="66" y="25"/>
                    <a:pt x="71" y="29"/>
                  </a:cubicBezTo>
                  <a:cubicBezTo>
                    <a:pt x="76" y="33"/>
                    <a:pt x="79" y="39"/>
                    <a:pt x="80" y="48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28" y="63"/>
                    <a:pt x="17" y="69"/>
                    <a:pt x="10" y="77"/>
                  </a:cubicBezTo>
                  <a:cubicBezTo>
                    <a:pt x="3" y="85"/>
                    <a:pt x="0" y="95"/>
                    <a:pt x="1" y="109"/>
                  </a:cubicBezTo>
                  <a:cubicBezTo>
                    <a:pt x="2" y="123"/>
                    <a:pt x="7" y="132"/>
                    <a:pt x="15" y="138"/>
                  </a:cubicBezTo>
                  <a:cubicBezTo>
                    <a:pt x="24" y="143"/>
                    <a:pt x="37" y="145"/>
                    <a:pt x="53" y="142"/>
                  </a:cubicBezTo>
                  <a:cubicBezTo>
                    <a:pt x="59" y="141"/>
                    <a:pt x="64" y="139"/>
                    <a:pt x="68" y="137"/>
                  </a:cubicBezTo>
                  <a:cubicBezTo>
                    <a:pt x="73" y="135"/>
                    <a:pt x="76" y="133"/>
                    <a:pt x="80" y="130"/>
                  </a:cubicBezTo>
                  <a:cubicBezTo>
                    <a:pt x="82" y="128"/>
                    <a:pt x="83" y="126"/>
                    <a:pt x="85" y="123"/>
                  </a:cubicBezTo>
                  <a:cubicBezTo>
                    <a:pt x="86" y="134"/>
                    <a:pt x="86" y="134"/>
                    <a:pt x="86" y="134"/>
                  </a:cubicBezTo>
                  <a:cubicBezTo>
                    <a:pt x="111" y="129"/>
                    <a:pt x="111" y="129"/>
                    <a:pt x="111" y="129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32"/>
                    <a:pt x="101" y="23"/>
                    <a:pt x="96" y="16"/>
                  </a:cubicBezTo>
                  <a:close/>
                  <a:moveTo>
                    <a:pt x="77" y="112"/>
                  </a:moveTo>
                  <a:cubicBezTo>
                    <a:pt x="72" y="115"/>
                    <a:pt x="64" y="118"/>
                    <a:pt x="54" y="119"/>
                  </a:cubicBezTo>
                  <a:cubicBezTo>
                    <a:pt x="45" y="121"/>
                    <a:pt x="38" y="121"/>
                    <a:pt x="34" y="118"/>
                  </a:cubicBezTo>
                  <a:cubicBezTo>
                    <a:pt x="29" y="116"/>
                    <a:pt x="26" y="111"/>
                    <a:pt x="26" y="104"/>
                  </a:cubicBezTo>
                  <a:cubicBezTo>
                    <a:pt x="25" y="98"/>
                    <a:pt x="27" y="93"/>
                    <a:pt x="30" y="89"/>
                  </a:cubicBezTo>
                  <a:cubicBezTo>
                    <a:pt x="33" y="85"/>
                    <a:pt x="38" y="83"/>
                    <a:pt x="45" y="82"/>
                  </a:cubicBezTo>
                  <a:cubicBezTo>
                    <a:pt x="81" y="75"/>
                    <a:pt x="81" y="75"/>
                    <a:pt x="81" y="75"/>
                  </a:cubicBezTo>
                  <a:cubicBezTo>
                    <a:pt x="83" y="101"/>
                    <a:pt x="83" y="101"/>
                    <a:pt x="83" y="101"/>
                  </a:cubicBezTo>
                  <a:cubicBezTo>
                    <a:pt x="83" y="101"/>
                    <a:pt x="83" y="101"/>
                    <a:pt x="83" y="101"/>
                  </a:cubicBezTo>
                  <a:cubicBezTo>
                    <a:pt x="84" y="105"/>
                    <a:pt x="81" y="109"/>
                    <a:pt x="77" y="112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3" name="Freeform 15"/>
            <p:cNvSpPr>
              <a:spLocks/>
            </p:cNvSpPr>
            <p:nvPr/>
          </p:nvSpPr>
          <p:spPr bwMode="auto">
            <a:xfrm>
              <a:off x="6784976" y="1735138"/>
              <a:ext cx="266700" cy="668338"/>
            </a:xfrm>
            <a:custGeom>
              <a:avLst/>
              <a:gdLst>
                <a:gd name="T0" fmla="*/ 56 w 71"/>
                <a:gd name="T1" fmla="*/ 149 h 177"/>
                <a:gd name="T2" fmla="*/ 50 w 71"/>
                <a:gd name="T3" fmla="*/ 147 h 177"/>
                <a:gd name="T4" fmla="*/ 48 w 71"/>
                <a:gd name="T5" fmla="*/ 140 h 177"/>
                <a:gd name="T6" fmla="*/ 42 w 71"/>
                <a:gd name="T7" fmla="*/ 64 h 177"/>
                <a:gd name="T8" fmla="*/ 63 w 71"/>
                <a:gd name="T9" fmla="*/ 60 h 177"/>
                <a:gd name="T10" fmla="*/ 61 w 71"/>
                <a:gd name="T11" fmla="*/ 36 h 177"/>
                <a:gd name="T12" fmla="*/ 41 w 71"/>
                <a:gd name="T13" fmla="*/ 40 h 177"/>
                <a:gd name="T14" fmla="*/ 38 w 71"/>
                <a:gd name="T15" fmla="*/ 0 h 177"/>
                <a:gd name="T16" fmla="*/ 11 w 71"/>
                <a:gd name="T17" fmla="*/ 5 h 177"/>
                <a:gd name="T18" fmla="*/ 14 w 71"/>
                <a:gd name="T19" fmla="*/ 45 h 177"/>
                <a:gd name="T20" fmla="*/ 0 w 71"/>
                <a:gd name="T21" fmla="*/ 47 h 177"/>
                <a:gd name="T22" fmla="*/ 2 w 71"/>
                <a:gd name="T23" fmla="*/ 71 h 177"/>
                <a:gd name="T24" fmla="*/ 16 w 71"/>
                <a:gd name="T25" fmla="*/ 68 h 177"/>
                <a:gd name="T26" fmla="*/ 22 w 71"/>
                <a:gd name="T27" fmla="*/ 145 h 177"/>
                <a:gd name="T28" fmla="*/ 31 w 71"/>
                <a:gd name="T29" fmla="*/ 170 h 177"/>
                <a:gd name="T30" fmla="*/ 56 w 71"/>
                <a:gd name="T31" fmla="*/ 175 h 177"/>
                <a:gd name="T32" fmla="*/ 71 w 71"/>
                <a:gd name="T33" fmla="*/ 172 h 177"/>
                <a:gd name="T34" fmla="*/ 69 w 71"/>
                <a:gd name="T35" fmla="*/ 147 h 177"/>
                <a:gd name="T36" fmla="*/ 56 w 71"/>
                <a:gd name="T37" fmla="*/ 14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1" h="177">
                  <a:moveTo>
                    <a:pt x="56" y="149"/>
                  </a:moveTo>
                  <a:cubicBezTo>
                    <a:pt x="54" y="149"/>
                    <a:pt x="52" y="149"/>
                    <a:pt x="50" y="147"/>
                  </a:cubicBezTo>
                  <a:cubicBezTo>
                    <a:pt x="49" y="146"/>
                    <a:pt x="48" y="143"/>
                    <a:pt x="48" y="140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22" y="145"/>
                    <a:pt x="22" y="145"/>
                    <a:pt x="22" y="145"/>
                  </a:cubicBezTo>
                  <a:cubicBezTo>
                    <a:pt x="22" y="156"/>
                    <a:pt x="26" y="165"/>
                    <a:pt x="31" y="170"/>
                  </a:cubicBezTo>
                  <a:cubicBezTo>
                    <a:pt x="37" y="175"/>
                    <a:pt x="45" y="177"/>
                    <a:pt x="56" y="175"/>
                  </a:cubicBezTo>
                  <a:cubicBezTo>
                    <a:pt x="71" y="172"/>
                    <a:pt x="71" y="172"/>
                    <a:pt x="71" y="172"/>
                  </a:cubicBezTo>
                  <a:cubicBezTo>
                    <a:pt x="69" y="147"/>
                    <a:pt x="69" y="147"/>
                    <a:pt x="69" y="147"/>
                  </a:cubicBezTo>
                  <a:lnTo>
                    <a:pt x="56" y="149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4" name="Freeform 16"/>
            <p:cNvSpPr>
              <a:spLocks/>
            </p:cNvSpPr>
            <p:nvPr/>
          </p:nvSpPr>
          <p:spPr bwMode="auto">
            <a:xfrm>
              <a:off x="7288213" y="1803400"/>
              <a:ext cx="134938" cy="528638"/>
            </a:xfrm>
            <a:custGeom>
              <a:avLst/>
              <a:gdLst>
                <a:gd name="T0" fmla="*/ 0 w 85"/>
                <a:gd name="T1" fmla="*/ 12 h 333"/>
                <a:gd name="T2" fmla="*/ 24 w 85"/>
                <a:gd name="T3" fmla="*/ 333 h 333"/>
                <a:gd name="T4" fmla="*/ 85 w 85"/>
                <a:gd name="T5" fmla="*/ 321 h 333"/>
                <a:gd name="T6" fmla="*/ 62 w 85"/>
                <a:gd name="T7" fmla="*/ 0 h 333"/>
                <a:gd name="T8" fmla="*/ 0 w 85"/>
                <a:gd name="T9" fmla="*/ 12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333">
                  <a:moveTo>
                    <a:pt x="0" y="12"/>
                  </a:moveTo>
                  <a:lnTo>
                    <a:pt x="24" y="333"/>
                  </a:lnTo>
                  <a:lnTo>
                    <a:pt x="85" y="321"/>
                  </a:lnTo>
                  <a:lnTo>
                    <a:pt x="62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5" name="Freeform 17"/>
            <p:cNvSpPr>
              <a:spLocks/>
            </p:cNvSpPr>
            <p:nvPr/>
          </p:nvSpPr>
          <p:spPr bwMode="auto">
            <a:xfrm>
              <a:off x="7273926" y="1600200"/>
              <a:ext cx="104775" cy="117475"/>
            </a:xfrm>
            <a:custGeom>
              <a:avLst/>
              <a:gdLst>
                <a:gd name="T0" fmla="*/ 61 w 66"/>
                <a:gd name="T1" fmla="*/ 0 h 74"/>
                <a:gd name="T2" fmla="*/ 0 w 66"/>
                <a:gd name="T3" fmla="*/ 12 h 74"/>
                <a:gd name="T4" fmla="*/ 4 w 66"/>
                <a:gd name="T5" fmla="*/ 74 h 74"/>
                <a:gd name="T6" fmla="*/ 66 w 66"/>
                <a:gd name="T7" fmla="*/ 64 h 74"/>
                <a:gd name="T8" fmla="*/ 61 w 66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4">
                  <a:moveTo>
                    <a:pt x="61" y="0"/>
                  </a:moveTo>
                  <a:lnTo>
                    <a:pt x="0" y="12"/>
                  </a:lnTo>
                  <a:lnTo>
                    <a:pt x="4" y="74"/>
                  </a:lnTo>
                  <a:lnTo>
                    <a:pt x="66" y="64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6" name="Freeform 18"/>
            <p:cNvSpPr>
              <a:spLocks noEditPoints="1"/>
            </p:cNvSpPr>
            <p:nvPr/>
          </p:nvSpPr>
          <p:spPr bwMode="auto">
            <a:xfrm>
              <a:off x="7670801" y="1701800"/>
              <a:ext cx="428625" cy="539750"/>
            </a:xfrm>
            <a:custGeom>
              <a:avLst/>
              <a:gdLst>
                <a:gd name="T0" fmla="*/ 112 w 114"/>
                <a:gd name="T1" fmla="*/ 50 h 143"/>
                <a:gd name="T2" fmla="*/ 103 w 114"/>
                <a:gd name="T3" fmla="*/ 20 h 143"/>
                <a:gd name="T4" fmla="*/ 82 w 114"/>
                <a:gd name="T5" fmla="*/ 4 h 143"/>
                <a:gd name="T6" fmla="*/ 52 w 114"/>
                <a:gd name="T7" fmla="*/ 2 h 143"/>
                <a:gd name="T8" fmla="*/ 23 w 114"/>
                <a:gd name="T9" fmla="*/ 14 h 143"/>
                <a:gd name="T10" fmla="*/ 5 w 114"/>
                <a:gd name="T11" fmla="*/ 38 h 143"/>
                <a:gd name="T12" fmla="*/ 1 w 114"/>
                <a:gd name="T13" fmla="*/ 70 h 143"/>
                <a:gd name="T14" fmla="*/ 3 w 114"/>
                <a:gd name="T15" fmla="*/ 92 h 143"/>
                <a:gd name="T16" fmla="*/ 12 w 114"/>
                <a:gd name="T17" fmla="*/ 123 h 143"/>
                <a:gd name="T18" fmla="*/ 32 w 114"/>
                <a:gd name="T19" fmla="*/ 140 h 143"/>
                <a:gd name="T20" fmla="*/ 62 w 114"/>
                <a:gd name="T21" fmla="*/ 141 h 143"/>
                <a:gd name="T22" fmla="*/ 92 w 114"/>
                <a:gd name="T23" fmla="*/ 129 h 143"/>
                <a:gd name="T24" fmla="*/ 109 w 114"/>
                <a:gd name="T25" fmla="*/ 106 h 143"/>
                <a:gd name="T26" fmla="*/ 113 w 114"/>
                <a:gd name="T27" fmla="*/ 73 h 143"/>
                <a:gd name="T28" fmla="*/ 112 w 114"/>
                <a:gd name="T29" fmla="*/ 50 h 143"/>
                <a:gd name="T30" fmla="*/ 81 w 114"/>
                <a:gd name="T31" fmla="*/ 103 h 143"/>
                <a:gd name="T32" fmla="*/ 60 w 114"/>
                <a:gd name="T33" fmla="*/ 116 h 143"/>
                <a:gd name="T34" fmla="*/ 39 w 114"/>
                <a:gd name="T35" fmla="*/ 111 h 143"/>
                <a:gd name="T36" fmla="*/ 29 w 114"/>
                <a:gd name="T37" fmla="*/ 88 h 143"/>
                <a:gd name="T38" fmla="*/ 28 w 114"/>
                <a:gd name="T39" fmla="*/ 66 h 143"/>
                <a:gd name="T40" fmla="*/ 33 w 114"/>
                <a:gd name="T41" fmla="*/ 40 h 143"/>
                <a:gd name="T42" fmla="*/ 54 w 114"/>
                <a:gd name="T43" fmla="*/ 27 h 143"/>
                <a:gd name="T44" fmla="*/ 76 w 114"/>
                <a:gd name="T45" fmla="*/ 32 h 143"/>
                <a:gd name="T46" fmla="*/ 85 w 114"/>
                <a:gd name="T47" fmla="*/ 55 h 143"/>
                <a:gd name="T48" fmla="*/ 87 w 114"/>
                <a:gd name="T49" fmla="*/ 78 h 143"/>
                <a:gd name="T50" fmla="*/ 81 w 114"/>
                <a:gd name="T51" fmla="*/ 10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4" h="143">
                  <a:moveTo>
                    <a:pt x="112" y="50"/>
                  </a:moveTo>
                  <a:cubicBezTo>
                    <a:pt x="111" y="38"/>
                    <a:pt x="108" y="28"/>
                    <a:pt x="103" y="20"/>
                  </a:cubicBezTo>
                  <a:cubicBezTo>
                    <a:pt x="98" y="12"/>
                    <a:pt x="91" y="7"/>
                    <a:pt x="82" y="4"/>
                  </a:cubicBezTo>
                  <a:cubicBezTo>
                    <a:pt x="74" y="1"/>
                    <a:pt x="64" y="0"/>
                    <a:pt x="52" y="2"/>
                  </a:cubicBezTo>
                  <a:cubicBezTo>
                    <a:pt x="41" y="4"/>
                    <a:pt x="31" y="8"/>
                    <a:pt x="23" y="14"/>
                  </a:cubicBezTo>
                  <a:cubicBezTo>
                    <a:pt x="15" y="20"/>
                    <a:pt x="9" y="28"/>
                    <a:pt x="5" y="38"/>
                  </a:cubicBezTo>
                  <a:cubicBezTo>
                    <a:pt x="2" y="47"/>
                    <a:pt x="0" y="58"/>
                    <a:pt x="1" y="70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4" y="105"/>
                    <a:pt x="7" y="115"/>
                    <a:pt x="12" y="123"/>
                  </a:cubicBezTo>
                  <a:cubicBezTo>
                    <a:pt x="17" y="131"/>
                    <a:pt x="23" y="137"/>
                    <a:pt x="32" y="140"/>
                  </a:cubicBezTo>
                  <a:cubicBezTo>
                    <a:pt x="41" y="143"/>
                    <a:pt x="51" y="143"/>
                    <a:pt x="62" y="141"/>
                  </a:cubicBezTo>
                  <a:cubicBezTo>
                    <a:pt x="74" y="139"/>
                    <a:pt x="84" y="135"/>
                    <a:pt x="92" y="129"/>
                  </a:cubicBezTo>
                  <a:cubicBezTo>
                    <a:pt x="99" y="123"/>
                    <a:pt x="105" y="115"/>
                    <a:pt x="109" y="106"/>
                  </a:cubicBezTo>
                  <a:cubicBezTo>
                    <a:pt x="113" y="96"/>
                    <a:pt x="114" y="85"/>
                    <a:pt x="113" y="73"/>
                  </a:cubicBezTo>
                  <a:lnTo>
                    <a:pt x="112" y="50"/>
                  </a:lnTo>
                  <a:close/>
                  <a:moveTo>
                    <a:pt x="81" y="103"/>
                  </a:moveTo>
                  <a:cubicBezTo>
                    <a:pt x="77" y="110"/>
                    <a:pt x="70" y="114"/>
                    <a:pt x="60" y="116"/>
                  </a:cubicBezTo>
                  <a:cubicBezTo>
                    <a:pt x="51" y="118"/>
                    <a:pt x="44" y="116"/>
                    <a:pt x="39" y="111"/>
                  </a:cubicBezTo>
                  <a:cubicBezTo>
                    <a:pt x="33" y="106"/>
                    <a:pt x="30" y="98"/>
                    <a:pt x="29" y="88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7" y="55"/>
                    <a:pt x="29" y="46"/>
                    <a:pt x="33" y="40"/>
                  </a:cubicBezTo>
                  <a:cubicBezTo>
                    <a:pt x="38" y="33"/>
                    <a:pt x="45" y="29"/>
                    <a:pt x="54" y="27"/>
                  </a:cubicBezTo>
                  <a:cubicBezTo>
                    <a:pt x="63" y="26"/>
                    <a:pt x="71" y="27"/>
                    <a:pt x="76" y="32"/>
                  </a:cubicBezTo>
                  <a:cubicBezTo>
                    <a:pt x="81" y="37"/>
                    <a:pt x="85" y="45"/>
                    <a:pt x="85" y="55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8" y="88"/>
                    <a:pt x="86" y="97"/>
                    <a:pt x="81" y="103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7" name="Freeform 19"/>
            <p:cNvSpPr>
              <a:spLocks/>
            </p:cNvSpPr>
            <p:nvPr/>
          </p:nvSpPr>
          <p:spPr bwMode="auto">
            <a:xfrm>
              <a:off x="8355013" y="1570038"/>
              <a:ext cx="438150" cy="569913"/>
            </a:xfrm>
            <a:custGeom>
              <a:avLst/>
              <a:gdLst>
                <a:gd name="T0" fmla="*/ 111 w 117"/>
                <a:gd name="T1" fmla="*/ 49 h 151"/>
                <a:gd name="T2" fmla="*/ 96 w 117"/>
                <a:gd name="T3" fmla="*/ 11 h 151"/>
                <a:gd name="T4" fmla="*/ 61 w 117"/>
                <a:gd name="T5" fmla="*/ 3 h 151"/>
                <a:gd name="T6" fmla="*/ 40 w 117"/>
                <a:gd name="T7" fmla="*/ 13 h 151"/>
                <a:gd name="T8" fmla="*/ 27 w 117"/>
                <a:gd name="T9" fmla="*/ 30 h 151"/>
                <a:gd name="T10" fmla="*/ 26 w 117"/>
                <a:gd name="T11" fmla="*/ 11 h 151"/>
                <a:gd name="T12" fmla="*/ 0 w 117"/>
                <a:gd name="T13" fmla="*/ 16 h 151"/>
                <a:gd name="T14" fmla="*/ 10 w 117"/>
                <a:gd name="T15" fmla="*/ 151 h 151"/>
                <a:gd name="T16" fmla="*/ 36 w 117"/>
                <a:gd name="T17" fmla="*/ 146 h 151"/>
                <a:gd name="T18" fmla="*/ 30 w 117"/>
                <a:gd name="T19" fmla="*/ 61 h 151"/>
                <a:gd name="T20" fmla="*/ 30 w 117"/>
                <a:gd name="T21" fmla="*/ 61 h 151"/>
                <a:gd name="T22" fmla="*/ 35 w 117"/>
                <a:gd name="T23" fmla="*/ 40 h 151"/>
                <a:gd name="T24" fmla="*/ 55 w 117"/>
                <a:gd name="T25" fmla="*/ 29 h 151"/>
                <a:gd name="T26" fmla="*/ 76 w 117"/>
                <a:gd name="T27" fmla="*/ 34 h 151"/>
                <a:gd name="T28" fmla="*/ 85 w 117"/>
                <a:gd name="T29" fmla="*/ 54 h 151"/>
                <a:gd name="T30" fmla="*/ 91 w 117"/>
                <a:gd name="T31" fmla="*/ 136 h 151"/>
                <a:gd name="T32" fmla="*/ 117 w 117"/>
                <a:gd name="T33" fmla="*/ 131 h 151"/>
                <a:gd name="T34" fmla="*/ 111 w 117"/>
                <a:gd name="T35" fmla="*/ 4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7" h="151">
                  <a:moveTo>
                    <a:pt x="111" y="49"/>
                  </a:moveTo>
                  <a:cubicBezTo>
                    <a:pt x="110" y="32"/>
                    <a:pt x="105" y="19"/>
                    <a:pt x="96" y="11"/>
                  </a:cubicBezTo>
                  <a:cubicBezTo>
                    <a:pt x="88" y="3"/>
                    <a:pt x="76" y="0"/>
                    <a:pt x="61" y="3"/>
                  </a:cubicBezTo>
                  <a:cubicBezTo>
                    <a:pt x="53" y="4"/>
                    <a:pt x="46" y="8"/>
                    <a:pt x="40" y="13"/>
                  </a:cubicBezTo>
                  <a:cubicBezTo>
                    <a:pt x="35" y="18"/>
                    <a:pt x="31" y="23"/>
                    <a:pt x="27" y="30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36" y="146"/>
                    <a:pt x="36" y="146"/>
                    <a:pt x="36" y="14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29" y="52"/>
                    <a:pt x="31" y="45"/>
                    <a:pt x="35" y="40"/>
                  </a:cubicBezTo>
                  <a:cubicBezTo>
                    <a:pt x="40" y="34"/>
                    <a:pt x="46" y="31"/>
                    <a:pt x="55" y="29"/>
                  </a:cubicBezTo>
                  <a:cubicBezTo>
                    <a:pt x="64" y="28"/>
                    <a:pt x="71" y="29"/>
                    <a:pt x="76" y="34"/>
                  </a:cubicBezTo>
                  <a:cubicBezTo>
                    <a:pt x="81" y="38"/>
                    <a:pt x="84" y="45"/>
                    <a:pt x="85" y="54"/>
                  </a:cubicBezTo>
                  <a:cubicBezTo>
                    <a:pt x="91" y="136"/>
                    <a:pt x="91" y="136"/>
                    <a:pt x="91" y="136"/>
                  </a:cubicBezTo>
                  <a:cubicBezTo>
                    <a:pt x="117" y="131"/>
                    <a:pt x="117" y="131"/>
                    <a:pt x="117" y="131"/>
                  </a:cubicBezTo>
                  <a:lnTo>
                    <a:pt x="111" y="49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</p:grpSp>
    </p:spTree>
    <p:extLst>
      <p:ext uri="{BB962C8B-B14F-4D97-AF65-F5344CB8AC3E}">
        <p14:creationId xmlns:p14="http://schemas.microsoft.com/office/powerpoint/2010/main" val="123187028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表紙：LA3_16_9_Onscreen（Thinking）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sp>
        <p:nvSpPr>
          <p:cNvPr id="26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pic>
        <p:nvPicPr>
          <p:cNvPr id="27" name="図 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9277" y="5527551"/>
            <a:ext cx="2022302" cy="516581"/>
          </a:xfrm>
          <a:prstGeom prst="rect">
            <a:avLst/>
          </a:prstGeom>
        </p:spPr>
      </p:pic>
      <p:sp>
        <p:nvSpPr>
          <p:cNvPr id="28" name="表紙サブタイトル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4420" y="3898245"/>
            <a:ext cx="4596587" cy="28803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33">
                <a:solidFill>
                  <a:schemeClr val="tx1"/>
                </a:solidFill>
              </a:defRPr>
            </a:lvl1pPr>
            <a:lvl2pPr marL="402393" indent="0" algn="ctr">
              <a:buNone/>
              <a:defRPr sz="1760"/>
            </a:lvl2pPr>
            <a:lvl3pPr marL="804784" indent="0" algn="ctr">
              <a:buNone/>
              <a:defRPr sz="1585"/>
            </a:lvl3pPr>
            <a:lvl4pPr marL="1207176" indent="0" algn="ctr">
              <a:buNone/>
              <a:defRPr sz="1408"/>
            </a:lvl4pPr>
            <a:lvl5pPr marL="1609567" indent="0" algn="ctr">
              <a:buNone/>
              <a:defRPr sz="1408"/>
            </a:lvl5pPr>
            <a:lvl6pPr marL="2011960" indent="0" algn="ctr">
              <a:buNone/>
              <a:defRPr sz="1408"/>
            </a:lvl6pPr>
            <a:lvl7pPr marL="2414352" indent="0" algn="ctr">
              <a:buNone/>
              <a:defRPr sz="1408"/>
            </a:lvl7pPr>
            <a:lvl8pPr marL="2816744" indent="0" algn="ctr">
              <a:buNone/>
              <a:defRPr sz="1408"/>
            </a:lvl8pPr>
            <a:lvl9pPr marL="3219133" indent="0" algn="ctr">
              <a:buNone/>
              <a:defRPr sz="1408"/>
            </a:lvl9pPr>
          </a:lstStyle>
          <a:p>
            <a:r>
              <a:rPr lang="ja-JP" altLang="en-US" noProof="0" dirty="0"/>
              <a:t>表紙</a:t>
            </a:r>
            <a:r>
              <a:rPr lang="ja-JP" altLang="en-US" noProof="0" dirty="0" smtClean="0"/>
              <a:t>サブタイトル（任意）／</a:t>
            </a:r>
            <a:r>
              <a:rPr lang="en-US" altLang="ja-JP" noProof="0" dirty="0" smtClean="0"/>
              <a:t>16pt</a:t>
            </a:r>
          </a:p>
        </p:txBody>
      </p:sp>
      <p:sp>
        <p:nvSpPr>
          <p:cNvPr id="29" name="表紙タイトル"/>
          <p:cNvSpPr>
            <a:spLocks noGrp="1"/>
          </p:cNvSpPr>
          <p:nvPr>
            <p:ph type="ctrTitle" hasCustomPrompt="1"/>
          </p:nvPr>
        </p:nvSpPr>
        <p:spPr bwMode="gray">
          <a:xfrm>
            <a:off x="434422" y="4234245"/>
            <a:ext cx="8028968" cy="1114968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17" b="1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ja-JP" altLang="en-US" noProof="0" smtClean="0"/>
              <a:t>表紙タイトル／</a:t>
            </a:r>
            <a:r>
              <a:rPr lang="en-US" altLang="ja-JP" noProof="0" smtClean="0"/>
              <a:t>26pt </a:t>
            </a:r>
            <a:r>
              <a:rPr lang="ja-JP" altLang="en-US" noProof="0" smtClean="0"/>
              <a:t>太字</a:t>
            </a:r>
            <a:r>
              <a:rPr lang="en-US" altLang="ja-JP" noProof="0" smtClean="0"/>
              <a:t/>
            </a:r>
            <a:br>
              <a:rPr lang="en-US" altLang="ja-JP" noProof="0" smtClean="0"/>
            </a:br>
            <a:r>
              <a:rPr lang="ja-JP" altLang="en-US" noProof="0" smtClean="0"/>
              <a:t>表紙タイトル／</a:t>
            </a:r>
            <a:r>
              <a:rPr lang="en-US" altLang="ja-JP" noProof="0" smtClean="0"/>
              <a:t>26pt </a:t>
            </a:r>
            <a:r>
              <a:rPr lang="ja-JP" altLang="en-US" noProof="0" smtClean="0"/>
              <a:t>太字</a:t>
            </a:r>
            <a:endParaRPr lang="en-US" noProof="0" dirty="0"/>
          </a:p>
        </p:txBody>
      </p:sp>
      <p:sp>
        <p:nvSpPr>
          <p:cNvPr id="30" name="バージョン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49277" y="6222469"/>
            <a:ext cx="2022302" cy="206096"/>
          </a:xfrm>
          <a:prstGeom prst="rect">
            <a:avLst/>
          </a:prstGeom>
        </p:spPr>
        <p:txBody>
          <a:bodyPr wrap="square" lIns="36000" tIns="36000" rIns="36000" bIns="3600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67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 err="1" smtClean="0"/>
              <a:t>Ver.XXX</a:t>
            </a:r>
            <a:endParaRPr lang="ja-JP" altLang="en-US" dirty="0"/>
          </a:p>
        </p:txBody>
      </p:sp>
      <p:pic>
        <p:nvPicPr>
          <p:cNvPr id="32" name="図 3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64" y="548679"/>
            <a:ext cx="9034272" cy="3096768"/>
          </a:xfrm>
          <a:prstGeom prst="rect">
            <a:avLst/>
          </a:prstGeom>
        </p:spPr>
      </p:pic>
      <p:grpSp>
        <p:nvGrpSpPr>
          <p:cNvPr id="33" name="グループ化 32"/>
          <p:cNvGrpSpPr/>
          <p:nvPr/>
        </p:nvGrpSpPr>
        <p:grpSpPr>
          <a:xfrm>
            <a:off x="4019153" y="2008718"/>
            <a:ext cx="858176" cy="177241"/>
            <a:chOff x="398463" y="1871663"/>
            <a:chExt cx="8343900" cy="1400175"/>
          </a:xfrm>
        </p:grpSpPr>
        <p:sp>
          <p:nvSpPr>
            <p:cNvPr id="34" name="Freeform 5"/>
            <p:cNvSpPr>
              <a:spLocks/>
            </p:cNvSpPr>
            <p:nvPr/>
          </p:nvSpPr>
          <p:spPr bwMode="auto">
            <a:xfrm>
              <a:off x="398463" y="1871663"/>
              <a:ext cx="762000" cy="1087438"/>
            </a:xfrm>
            <a:custGeom>
              <a:avLst/>
              <a:gdLst>
                <a:gd name="T0" fmla="*/ 0 w 480"/>
                <a:gd name="T1" fmla="*/ 90 h 685"/>
                <a:gd name="T2" fmla="*/ 192 w 480"/>
                <a:gd name="T3" fmla="*/ 90 h 685"/>
                <a:gd name="T4" fmla="*/ 192 w 480"/>
                <a:gd name="T5" fmla="*/ 685 h 685"/>
                <a:gd name="T6" fmla="*/ 288 w 480"/>
                <a:gd name="T7" fmla="*/ 685 h 685"/>
                <a:gd name="T8" fmla="*/ 288 w 480"/>
                <a:gd name="T9" fmla="*/ 90 h 685"/>
                <a:gd name="T10" fmla="*/ 480 w 480"/>
                <a:gd name="T11" fmla="*/ 90 h 685"/>
                <a:gd name="T12" fmla="*/ 480 w 480"/>
                <a:gd name="T13" fmla="*/ 0 h 685"/>
                <a:gd name="T14" fmla="*/ 0 w 480"/>
                <a:gd name="T15" fmla="*/ 0 h 685"/>
                <a:gd name="T16" fmla="*/ 0 w 480"/>
                <a:gd name="T17" fmla="*/ 90 h 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0" h="685">
                  <a:moveTo>
                    <a:pt x="0" y="90"/>
                  </a:moveTo>
                  <a:lnTo>
                    <a:pt x="192" y="90"/>
                  </a:lnTo>
                  <a:lnTo>
                    <a:pt x="192" y="685"/>
                  </a:lnTo>
                  <a:lnTo>
                    <a:pt x="288" y="685"/>
                  </a:lnTo>
                  <a:lnTo>
                    <a:pt x="288" y="90"/>
                  </a:lnTo>
                  <a:lnTo>
                    <a:pt x="480" y="90"/>
                  </a:lnTo>
                  <a:lnTo>
                    <a:pt x="480" y="0"/>
                  </a:lnTo>
                  <a:lnTo>
                    <a:pt x="0" y="0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36" name="Freeform 6"/>
            <p:cNvSpPr>
              <a:spLocks/>
            </p:cNvSpPr>
            <p:nvPr/>
          </p:nvSpPr>
          <p:spPr bwMode="auto">
            <a:xfrm>
              <a:off x="1660526" y="1871663"/>
              <a:ext cx="619125" cy="1087438"/>
            </a:xfrm>
            <a:custGeom>
              <a:avLst/>
              <a:gdLst>
                <a:gd name="T0" fmla="*/ 95 w 165"/>
                <a:gd name="T1" fmla="*/ 79 h 288"/>
                <a:gd name="T2" fmla="*/ 61 w 165"/>
                <a:gd name="T3" fmla="*/ 89 h 288"/>
                <a:gd name="T4" fmla="*/ 40 w 165"/>
                <a:gd name="T5" fmla="*/ 110 h 288"/>
                <a:gd name="T6" fmla="*/ 40 w 165"/>
                <a:gd name="T7" fmla="*/ 0 h 288"/>
                <a:gd name="T8" fmla="*/ 0 w 165"/>
                <a:gd name="T9" fmla="*/ 0 h 288"/>
                <a:gd name="T10" fmla="*/ 0 w 165"/>
                <a:gd name="T11" fmla="*/ 288 h 288"/>
                <a:gd name="T12" fmla="*/ 40 w 165"/>
                <a:gd name="T13" fmla="*/ 288 h 288"/>
                <a:gd name="T14" fmla="*/ 40 w 165"/>
                <a:gd name="T15" fmla="*/ 157 h 288"/>
                <a:gd name="T16" fmla="*/ 51 w 165"/>
                <a:gd name="T17" fmla="*/ 128 h 288"/>
                <a:gd name="T18" fmla="*/ 82 w 165"/>
                <a:gd name="T19" fmla="*/ 118 h 288"/>
                <a:gd name="T20" fmla="*/ 113 w 165"/>
                <a:gd name="T21" fmla="*/ 129 h 288"/>
                <a:gd name="T22" fmla="*/ 125 w 165"/>
                <a:gd name="T23" fmla="*/ 163 h 288"/>
                <a:gd name="T24" fmla="*/ 125 w 165"/>
                <a:gd name="T25" fmla="*/ 288 h 288"/>
                <a:gd name="T26" fmla="*/ 165 w 165"/>
                <a:gd name="T27" fmla="*/ 288 h 288"/>
                <a:gd name="T28" fmla="*/ 165 w 165"/>
                <a:gd name="T29" fmla="*/ 163 h 288"/>
                <a:gd name="T30" fmla="*/ 147 w 165"/>
                <a:gd name="T31" fmla="*/ 101 h 288"/>
                <a:gd name="T32" fmla="*/ 95 w 165"/>
                <a:gd name="T33" fmla="*/ 79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5" h="288">
                  <a:moveTo>
                    <a:pt x="95" y="79"/>
                  </a:moveTo>
                  <a:cubicBezTo>
                    <a:pt x="82" y="79"/>
                    <a:pt x="71" y="83"/>
                    <a:pt x="61" y="89"/>
                  </a:cubicBezTo>
                  <a:cubicBezTo>
                    <a:pt x="53" y="94"/>
                    <a:pt x="46" y="102"/>
                    <a:pt x="40" y="11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40" y="288"/>
                    <a:pt x="40" y="288"/>
                    <a:pt x="40" y="288"/>
                  </a:cubicBezTo>
                  <a:cubicBezTo>
                    <a:pt x="40" y="157"/>
                    <a:pt x="40" y="157"/>
                    <a:pt x="40" y="157"/>
                  </a:cubicBezTo>
                  <a:cubicBezTo>
                    <a:pt x="40" y="144"/>
                    <a:pt x="44" y="135"/>
                    <a:pt x="51" y="128"/>
                  </a:cubicBezTo>
                  <a:cubicBezTo>
                    <a:pt x="58" y="121"/>
                    <a:pt x="68" y="118"/>
                    <a:pt x="82" y="118"/>
                  </a:cubicBezTo>
                  <a:cubicBezTo>
                    <a:pt x="95" y="118"/>
                    <a:pt x="106" y="122"/>
                    <a:pt x="113" y="129"/>
                  </a:cubicBezTo>
                  <a:cubicBezTo>
                    <a:pt x="121" y="137"/>
                    <a:pt x="125" y="149"/>
                    <a:pt x="125" y="163"/>
                  </a:cubicBezTo>
                  <a:cubicBezTo>
                    <a:pt x="125" y="288"/>
                    <a:pt x="125" y="288"/>
                    <a:pt x="125" y="288"/>
                  </a:cubicBezTo>
                  <a:cubicBezTo>
                    <a:pt x="165" y="288"/>
                    <a:pt x="165" y="288"/>
                    <a:pt x="165" y="288"/>
                  </a:cubicBezTo>
                  <a:cubicBezTo>
                    <a:pt x="165" y="163"/>
                    <a:pt x="165" y="163"/>
                    <a:pt x="165" y="163"/>
                  </a:cubicBezTo>
                  <a:cubicBezTo>
                    <a:pt x="165" y="136"/>
                    <a:pt x="159" y="116"/>
                    <a:pt x="147" y="101"/>
                  </a:cubicBezTo>
                  <a:cubicBezTo>
                    <a:pt x="134" y="86"/>
                    <a:pt x="117" y="79"/>
                    <a:pt x="95" y="79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2906713" y="1871663"/>
              <a:ext cx="150813" cy="150813"/>
            </a:xfrm>
            <a:prstGeom prst="rect">
              <a:avLst/>
            </a:prstGeom>
            <a:solidFill>
              <a:srgbClr val="00B3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9" name="Rectangle 8"/>
            <p:cNvSpPr>
              <a:spLocks noChangeArrowheads="1"/>
            </p:cNvSpPr>
            <p:nvPr/>
          </p:nvSpPr>
          <p:spPr bwMode="auto">
            <a:xfrm>
              <a:off x="2906713" y="2181226"/>
              <a:ext cx="150813" cy="777875"/>
            </a:xfrm>
            <a:prstGeom prst="rect">
              <a:avLst/>
            </a:prstGeom>
            <a:solidFill>
              <a:srgbClr val="00B3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60" name="Freeform 9"/>
            <p:cNvSpPr>
              <a:spLocks/>
            </p:cNvSpPr>
            <p:nvPr/>
          </p:nvSpPr>
          <p:spPr bwMode="auto">
            <a:xfrm>
              <a:off x="3684588" y="2170113"/>
              <a:ext cx="619125" cy="788988"/>
            </a:xfrm>
            <a:custGeom>
              <a:avLst/>
              <a:gdLst>
                <a:gd name="T0" fmla="*/ 95 w 165"/>
                <a:gd name="T1" fmla="*/ 0 h 209"/>
                <a:gd name="T2" fmla="*/ 61 w 165"/>
                <a:gd name="T3" fmla="*/ 10 h 209"/>
                <a:gd name="T4" fmla="*/ 40 w 165"/>
                <a:gd name="T5" fmla="*/ 32 h 209"/>
                <a:gd name="T6" fmla="*/ 40 w 165"/>
                <a:gd name="T7" fmla="*/ 3 h 209"/>
                <a:gd name="T8" fmla="*/ 0 w 165"/>
                <a:gd name="T9" fmla="*/ 3 h 209"/>
                <a:gd name="T10" fmla="*/ 0 w 165"/>
                <a:gd name="T11" fmla="*/ 209 h 209"/>
                <a:gd name="T12" fmla="*/ 40 w 165"/>
                <a:gd name="T13" fmla="*/ 209 h 209"/>
                <a:gd name="T14" fmla="*/ 40 w 165"/>
                <a:gd name="T15" fmla="*/ 79 h 209"/>
                <a:gd name="T16" fmla="*/ 51 w 165"/>
                <a:gd name="T17" fmla="*/ 49 h 209"/>
                <a:gd name="T18" fmla="*/ 81 w 165"/>
                <a:gd name="T19" fmla="*/ 39 h 209"/>
                <a:gd name="T20" fmla="*/ 113 w 165"/>
                <a:gd name="T21" fmla="*/ 50 h 209"/>
                <a:gd name="T22" fmla="*/ 124 w 165"/>
                <a:gd name="T23" fmla="*/ 84 h 209"/>
                <a:gd name="T24" fmla="*/ 124 w 165"/>
                <a:gd name="T25" fmla="*/ 209 h 209"/>
                <a:gd name="T26" fmla="*/ 165 w 165"/>
                <a:gd name="T27" fmla="*/ 209 h 209"/>
                <a:gd name="T28" fmla="*/ 165 w 165"/>
                <a:gd name="T29" fmla="*/ 84 h 209"/>
                <a:gd name="T30" fmla="*/ 146 w 165"/>
                <a:gd name="T31" fmla="*/ 22 h 209"/>
                <a:gd name="T32" fmla="*/ 95 w 165"/>
                <a:gd name="T33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5" h="209">
                  <a:moveTo>
                    <a:pt x="95" y="0"/>
                  </a:moveTo>
                  <a:cubicBezTo>
                    <a:pt x="82" y="0"/>
                    <a:pt x="71" y="4"/>
                    <a:pt x="61" y="10"/>
                  </a:cubicBezTo>
                  <a:cubicBezTo>
                    <a:pt x="53" y="16"/>
                    <a:pt x="46" y="23"/>
                    <a:pt x="40" y="32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40" y="209"/>
                    <a:pt x="40" y="209"/>
                    <a:pt x="40" y="20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66"/>
                    <a:pt x="44" y="56"/>
                    <a:pt x="51" y="49"/>
                  </a:cubicBezTo>
                  <a:cubicBezTo>
                    <a:pt x="58" y="42"/>
                    <a:pt x="68" y="39"/>
                    <a:pt x="81" y="39"/>
                  </a:cubicBezTo>
                  <a:cubicBezTo>
                    <a:pt x="95" y="39"/>
                    <a:pt x="105" y="43"/>
                    <a:pt x="113" y="50"/>
                  </a:cubicBezTo>
                  <a:cubicBezTo>
                    <a:pt x="121" y="58"/>
                    <a:pt x="124" y="70"/>
                    <a:pt x="124" y="84"/>
                  </a:cubicBezTo>
                  <a:cubicBezTo>
                    <a:pt x="124" y="209"/>
                    <a:pt x="124" y="209"/>
                    <a:pt x="124" y="209"/>
                  </a:cubicBezTo>
                  <a:cubicBezTo>
                    <a:pt x="165" y="209"/>
                    <a:pt x="165" y="209"/>
                    <a:pt x="165" y="209"/>
                  </a:cubicBezTo>
                  <a:cubicBezTo>
                    <a:pt x="165" y="84"/>
                    <a:pt x="165" y="84"/>
                    <a:pt x="165" y="84"/>
                  </a:cubicBezTo>
                  <a:cubicBezTo>
                    <a:pt x="165" y="57"/>
                    <a:pt x="159" y="37"/>
                    <a:pt x="146" y="22"/>
                  </a:cubicBezTo>
                  <a:cubicBezTo>
                    <a:pt x="134" y="7"/>
                    <a:pt x="117" y="0"/>
                    <a:pt x="95" y="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61" name="Freeform 10"/>
            <p:cNvSpPr>
              <a:spLocks/>
            </p:cNvSpPr>
            <p:nvPr/>
          </p:nvSpPr>
          <p:spPr bwMode="auto">
            <a:xfrm>
              <a:off x="4926013" y="1871663"/>
              <a:ext cx="681038" cy="1087438"/>
            </a:xfrm>
            <a:custGeom>
              <a:avLst/>
              <a:gdLst>
                <a:gd name="T0" fmla="*/ 405 w 429"/>
                <a:gd name="T1" fmla="*/ 195 h 685"/>
                <a:gd name="T2" fmla="*/ 291 w 429"/>
                <a:gd name="T3" fmla="*/ 195 h 685"/>
                <a:gd name="T4" fmla="*/ 97 w 429"/>
                <a:gd name="T5" fmla="*/ 433 h 685"/>
                <a:gd name="T6" fmla="*/ 97 w 429"/>
                <a:gd name="T7" fmla="*/ 0 h 685"/>
                <a:gd name="T8" fmla="*/ 0 w 429"/>
                <a:gd name="T9" fmla="*/ 0 h 685"/>
                <a:gd name="T10" fmla="*/ 0 w 429"/>
                <a:gd name="T11" fmla="*/ 685 h 685"/>
                <a:gd name="T12" fmla="*/ 97 w 429"/>
                <a:gd name="T13" fmla="*/ 685 h 685"/>
                <a:gd name="T14" fmla="*/ 97 w 429"/>
                <a:gd name="T15" fmla="*/ 545 h 685"/>
                <a:gd name="T16" fmla="*/ 183 w 429"/>
                <a:gd name="T17" fmla="*/ 447 h 685"/>
                <a:gd name="T18" fmla="*/ 325 w 429"/>
                <a:gd name="T19" fmla="*/ 685 h 685"/>
                <a:gd name="T20" fmla="*/ 429 w 429"/>
                <a:gd name="T21" fmla="*/ 685 h 685"/>
                <a:gd name="T22" fmla="*/ 242 w 429"/>
                <a:gd name="T23" fmla="*/ 380 h 685"/>
                <a:gd name="T24" fmla="*/ 405 w 429"/>
                <a:gd name="T25" fmla="*/ 195 h 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9" h="685">
                  <a:moveTo>
                    <a:pt x="405" y="195"/>
                  </a:moveTo>
                  <a:lnTo>
                    <a:pt x="291" y="195"/>
                  </a:lnTo>
                  <a:lnTo>
                    <a:pt x="97" y="433"/>
                  </a:lnTo>
                  <a:lnTo>
                    <a:pt x="97" y="0"/>
                  </a:lnTo>
                  <a:lnTo>
                    <a:pt x="0" y="0"/>
                  </a:lnTo>
                  <a:lnTo>
                    <a:pt x="0" y="685"/>
                  </a:lnTo>
                  <a:lnTo>
                    <a:pt x="97" y="685"/>
                  </a:lnTo>
                  <a:lnTo>
                    <a:pt x="97" y="545"/>
                  </a:lnTo>
                  <a:lnTo>
                    <a:pt x="183" y="447"/>
                  </a:lnTo>
                  <a:lnTo>
                    <a:pt x="325" y="685"/>
                  </a:lnTo>
                  <a:lnTo>
                    <a:pt x="429" y="685"/>
                  </a:lnTo>
                  <a:lnTo>
                    <a:pt x="242" y="380"/>
                  </a:lnTo>
                  <a:lnTo>
                    <a:pt x="405" y="195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62" name="Rectangle 11"/>
            <p:cNvSpPr>
              <a:spLocks noChangeArrowheads="1"/>
            </p:cNvSpPr>
            <p:nvPr/>
          </p:nvSpPr>
          <p:spPr bwMode="auto">
            <a:xfrm>
              <a:off x="6127751" y="2181226"/>
              <a:ext cx="150813" cy="777875"/>
            </a:xfrm>
            <a:prstGeom prst="rect">
              <a:avLst/>
            </a:prstGeom>
            <a:solidFill>
              <a:srgbClr val="00B3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63" name="Rectangle 12"/>
            <p:cNvSpPr>
              <a:spLocks noChangeArrowheads="1"/>
            </p:cNvSpPr>
            <p:nvPr/>
          </p:nvSpPr>
          <p:spPr bwMode="auto">
            <a:xfrm>
              <a:off x="6127751" y="1871663"/>
              <a:ext cx="150813" cy="150813"/>
            </a:xfrm>
            <a:prstGeom prst="rect">
              <a:avLst/>
            </a:prstGeom>
            <a:solidFill>
              <a:srgbClr val="00B3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64" name="Freeform 13"/>
            <p:cNvSpPr>
              <a:spLocks/>
            </p:cNvSpPr>
            <p:nvPr/>
          </p:nvSpPr>
          <p:spPr bwMode="auto">
            <a:xfrm>
              <a:off x="6905626" y="2170113"/>
              <a:ext cx="619125" cy="788988"/>
            </a:xfrm>
            <a:custGeom>
              <a:avLst/>
              <a:gdLst>
                <a:gd name="T0" fmla="*/ 95 w 165"/>
                <a:gd name="T1" fmla="*/ 0 h 209"/>
                <a:gd name="T2" fmla="*/ 61 w 165"/>
                <a:gd name="T3" fmla="*/ 10 h 209"/>
                <a:gd name="T4" fmla="*/ 40 w 165"/>
                <a:gd name="T5" fmla="*/ 32 h 209"/>
                <a:gd name="T6" fmla="*/ 40 w 165"/>
                <a:gd name="T7" fmla="*/ 3 h 209"/>
                <a:gd name="T8" fmla="*/ 0 w 165"/>
                <a:gd name="T9" fmla="*/ 3 h 209"/>
                <a:gd name="T10" fmla="*/ 0 w 165"/>
                <a:gd name="T11" fmla="*/ 209 h 209"/>
                <a:gd name="T12" fmla="*/ 40 w 165"/>
                <a:gd name="T13" fmla="*/ 209 h 209"/>
                <a:gd name="T14" fmla="*/ 40 w 165"/>
                <a:gd name="T15" fmla="*/ 79 h 209"/>
                <a:gd name="T16" fmla="*/ 51 w 165"/>
                <a:gd name="T17" fmla="*/ 49 h 209"/>
                <a:gd name="T18" fmla="*/ 82 w 165"/>
                <a:gd name="T19" fmla="*/ 39 h 209"/>
                <a:gd name="T20" fmla="*/ 113 w 165"/>
                <a:gd name="T21" fmla="*/ 50 h 209"/>
                <a:gd name="T22" fmla="*/ 125 w 165"/>
                <a:gd name="T23" fmla="*/ 84 h 209"/>
                <a:gd name="T24" fmla="*/ 125 w 165"/>
                <a:gd name="T25" fmla="*/ 209 h 209"/>
                <a:gd name="T26" fmla="*/ 165 w 165"/>
                <a:gd name="T27" fmla="*/ 209 h 209"/>
                <a:gd name="T28" fmla="*/ 165 w 165"/>
                <a:gd name="T29" fmla="*/ 84 h 209"/>
                <a:gd name="T30" fmla="*/ 147 w 165"/>
                <a:gd name="T31" fmla="*/ 22 h 209"/>
                <a:gd name="T32" fmla="*/ 95 w 165"/>
                <a:gd name="T33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5" h="209">
                  <a:moveTo>
                    <a:pt x="95" y="0"/>
                  </a:moveTo>
                  <a:cubicBezTo>
                    <a:pt x="82" y="0"/>
                    <a:pt x="71" y="4"/>
                    <a:pt x="61" y="10"/>
                  </a:cubicBezTo>
                  <a:cubicBezTo>
                    <a:pt x="53" y="16"/>
                    <a:pt x="46" y="23"/>
                    <a:pt x="40" y="32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40" y="209"/>
                    <a:pt x="40" y="209"/>
                    <a:pt x="40" y="20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66"/>
                    <a:pt x="44" y="56"/>
                    <a:pt x="51" y="49"/>
                  </a:cubicBezTo>
                  <a:cubicBezTo>
                    <a:pt x="58" y="42"/>
                    <a:pt x="68" y="39"/>
                    <a:pt x="82" y="39"/>
                  </a:cubicBezTo>
                  <a:cubicBezTo>
                    <a:pt x="95" y="39"/>
                    <a:pt x="106" y="43"/>
                    <a:pt x="113" y="50"/>
                  </a:cubicBezTo>
                  <a:cubicBezTo>
                    <a:pt x="121" y="58"/>
                    <a:pt x="125" y="70"/>
                    <a:pt x="125" y="84"/>
                  </a:cubicBezTo>
                  <a:cubicBezTo>
                    <a:pt x="125" y="209"/>
                    <a:pt x="125" y="209"/>
                    <a:pt x="125" y="209"/>
                  </a:cubicBezTo>
                  <a:cubicBezTo>
                    <a:pt x="165" y="209"/>
                    <a:pt x="165" y="209"/>
                    <a:pt x="165" y="209"/>
                  </a:cubicBezTo>
                  <a:cubicBezTo>
                    <a:pt x="165" y="84"/>
                    <a:pt x="165" y="84"/>
                    <a:pt x="165" y="84"/>
                  </a:cubicBezTo>
                  <a:cubicBezTo>
                    <a:pt x="165" y="57"/>
                    <a:pt x="159" y="37"/>
                    <a:pt x="147" y="22"/>
                  </a:cubicBezTo>
                  <a:cubicBezTo>
                    <a:pt x="134" y="7"/>
                    <a:pt x="117" y="0"/>
                    <a:pt x="95" y="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65" name="Freeform 14"/>
            <p:cNvSpPr>
              <a:spLocks noEditPoints="1"/>
            </p:cNvSpPr>
            <p:nvPr/>
          </p:nvSpPr>
          <p:spPr bwMode="auto">
            <a:xfrm>
              <a:off x="8129588" y="2170113"/>
              <a:ext cx="612775" cy="1101725"/>
            </a:xfrm>
            <a:custGeom>
              <a:avLst/>
              <a:gdLst>
                <a:gd name="T0" fmla="*/ 122 w 163"/>
                <a:gd name="T1" fmla="*/ 3 h 292"/>
                <a:gd name="T2" fmla="*/ 122 w 163"/>
                <a:gd name="T3" fmla="*/ 29 h 292"/>
                <a:gd name="T4" fmla="*/ 102 w 163"/>
                <a:gd name="T5" fmla="*/ 9 h 292"/>
                <a:gd name="T6" fmla="*/ 69 w 163"/>
                <a:gd name="T7" fmla="*/ 0 h 292"/>
                <a:gd name="T8" fmla="*/ 31 w 163"/>
                <a:gd name="T9" fmla="*/ 9 h 292"/>
                <a:gd name="T10" fmla="*/ 8 w 163"/>
                <a:gd name="T11" fmla="*/ 38 h 292"/>
                <a:gd name="T12" fmla="*/ 0 w 163"/>
                <a:gd name="T13" fmla="*/ 83 h 292"/>
                <a:gd name="T14" fmla="*/ 0 w 163"/>
                <a:gd name="T15" fmla="*/ 129 h 292"/>
                <a:gd name="T16" fmla="*/ 8 w 163"/>
                <a:gd name="T17" fmla="*/ 174 h 292"/>
                <a:gd name="T18" fmla="*/ 32 w 163"/>
                <a:gd name="T19" fmla="*/ 202 h 292"/>
                <a:gd name="T20" fmla="*/ 71 w 163"/>
                <a:gd name="T21" fmla="*/ 212 h 292"/>
                <a:gd name="T22" fmla="*/ 105 w 163"/>
                <a:gd name="T23" fmla="*/ 202 h 292"/>
                <a:gd name="T24" fmla="*/ 122 w 163"/>
                <a:gd name="T25" fmla="*/ 182 h 292"/>
                <a:gd name="T26" fmla="*/ 122 w 163"/>
                <a:gd name="T27" fmla="*/ 208 h 292"/>
                <a:gd name="T28" fmla="*/ 110 w 163"/>
                <a:gd name="T29" fmla="*/ 244 h 292"/>
                <a:gd name="T30" fmla="*/ 74 w 163"/>
                <a:gd name="T31" fmla="*/ 257 h 292"/>
                <a:gd name="T32" fmla="*/ 51 w 163"/>
                <a:gd name="T33" fmla="*/ 251 h 292"/>
                <a:gd name="T34" fmla="*/ 32 w 163"/>
                <a:gd name="T35" fmla="*/ 234 h 292"/>
                <a:gd name="T36" fmla="*/ 5 w 163"/>
                <a:gd name="T37" fmla="*/ 259 h 292"/>
                <a:gd name="T38" fmla="*/ 33 w 163"/>
                <a:gd name="T39" fmla="*/ 283 h 292"/>
                <a:gd name="T40" fmla="*/ 51 w 163"/>
                <a:gd name="T41" fmla="*/ 292 h 292"/>
                <a:gd name="T42" fmla="*/ 74 w 163"/>
                <a:gd name="T43" fmla="*/ 292 h 292"/>
                <a:gd name="T44" fmla="*/ 122 w 163"/>
                <a:gd name="T45" fmla="*/ 281 h 292"/>
                <a:gd name="T46" fmla="*/ 152 w 163"/>
                <a:gd name="T47" fmla="*/ 251 h 292"/>
                <a:gd name="T48" fmla="*/ 163 w 163"/>
                <a:gd name="T49" fmla="*/ 202 h 292"/>
                <a:gd name="T50" fmla="*/ 163 w 163"/>
                <a:gd name="T51" fmla="*/ 3 h 292"/>
                <a:gd name="T52" fmla="*/ 122 w 163"/>
                <a:gd name="T53" fmla="*/ 3 h 292"/>
                <a:gd name="T54" fmla="*/ 122 w 163"/>
                <a:gd name="T55" fmla="*/ 133 h 292"/>
                <a:gd name="T56" fmla="*/ 118 w 163"/>
                <a:gd name="T57" fmla="*/ 156 h 292"/>
                <a:gd name="T58" fmla="*/ 104 w 163"/>
                <a:gd name="T59" fmla="*/ 170 h 292"/>
                <a:gd name="T60" fmla="*/ 82 w 163"/>
                <a:gd name="T61" fmla="*/ 175 h 292"/>
                <a:gd name="T62" fmla="*/ 51 w 163"/>
                <a:gd name="T63" fmla="*/ 163 h 292"/>
                <a:gd name="T64" fmla="*/ 40 w 163"/>
                <a:gd name="T65" fmla="*/ 129 h 292"/>
                <a:gd name="T66" fmla="*/ 40 w 163"/>
                <a:gd name="T67" fmla="*/ 84 h 292"/>
                <a:gd name="T68" fmla="*/ 51 w 163"/>
                <a:gd name="T69" fmla="*/ 49 h 292"/>
                <a:gd name="T70" fmla="*/ 82 w 163"/>
                <a:gd name="T71" fmla="*/ 36 h 292"/>
                <a:gd name="T72" fmla="*/ 104 w 163"/>
                <a:gd name="T73" fmla="*/ 41 h 292"/>
                <a:gd name="T74" fmla="*/ 118 w 163"/>
                <a:gd name="T75" fmla="*/ 55 h 292"/>
                <a:gd name="T76" fmla="*/ 122 w 163"/>
                <a:gd name="T77" fmla="*/ 78 h 292"/>
                <a:gd name="T78" fmla="*/ 122 w 163"/>
                <a:gd name="T79" fmla="*/ 133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3" h="292">
                  <a:moveTo>
                    <a:pt x="122" y="3"/>
                  </a:moveTo>
                  <a:cubicBezTo>
                    <a:pt x="122" y="29"/>
                    <a:pt x="122" y="29"/>
                    <a:pt x="122" y="29"/>
                  </a:cubicBezTo>
                  <a:cubicBezTo>
                    <a:pt x="117" y="21"/>
                    <a:pt x="110" y="14"/>
                    <a:pt x="102" y="9"/>
                  </a:cubicBezTo>
                  <a:cubicBezTo>
                    <a:pt x="92" y="3"/>
                    <a:pt x="81" y="0"/>
                    <a:pt x="69" y="0"/>
                  </a:cubicBezTo>
                  <a:cubicBezTo>
                    <a:pt x="54" y="0"/>
                    <a:pt x="42" y="3"/>
                    <a:pt x="31" y="9"/>
                  </a:cubicBezTo>
                  <a:cubicBezTo>
                    <a:pt x="21" y="16"/>
                    <a:pt x="13" y="25"/>
                    <a:pt x="8" y="38"/>
                  </a:cubicBezTo>
                  <a:cubicBezTo>
                    <a:pt x="2" y="51"/>
                    <a:pt x="0" y="66"/>
                    <a:pt x="0" y="83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46"/>
                    <a:pt x="2" y="161"/>
                    <a:pt x="8" y="174"/>
                  </a:cubicBezTo>
                  <a:cubicBezTo>
                    <a:pt x="13" y="186"/>
                    <a:pt x="22" y="196"/>
                    <a:pt x="32" y="202"/>
                  </a:cubicBezTo>
                  <a:cubicBezTo>
                    <a:pt x="43" y="209"/>
                    <a:pt x="56" y="212"/>
                    <a:pt x="71" y="212"/>
                  </a:cubicBezTo>
                  <a:cubicBezTo>
                    <a:pt x="84" y="212"/>
                    <a:pt x="96" y="209"/>
                    <a:pt x="105" y="202"/>
                  </a:cubicBezTo>
                  <a:cubicBezTo>
                    <a:pt x="112" y="196"/>
                    <a:pt x="118" y="190"/>
                    <a:pt x="122" y="182"/>
                  </a:cubicBezTo>
                  <a:cubicBezTo>
                    <a:pt x="122" y="208"/>
                    <a:pt x="122" y="208"/>
                    <a:pt x="122" y="208"/>
                  </a:cubicBezTo>
                  <a:cubicBezTo>
                    <a:pt x="122" y="224"/>
                    <a:pt x="118" y="236"/>
                    <a:pt x="110" y="244"/>
                  </a:cubicBezTo>
                  <a:cubicBezTo>
                    <a:pt x="101" y="253"/>
                    <a:pt x="89" y="257"/>
                    <a:pt x="74" y="257"/>
                  </a:cubicBezTo>
                  <a:cubicBezTo>
                    <a:pt x="66" y="257"/>
                    <a:pt x="58" y="255"/>
                    <a:pt x="51" y="251"/>
                  </a:cubicBezTo>
                  <a:cubicBezTo>
                    <a:pt x="43" y="247"/>
                    <a:pt x="37" y="242"/>
                    <a:pt x="32" y="234"/>
                  </a:cubicBezTo>
                  <a:cubicBezTo>
                    <a:pt x="5" y="259"/>
                    <a:pt x="5" y="259"/>
                    <a:pt x="5" y="259"/>
                  </a:cubicBezTo>
                  <a:cubicBezTo>
                    <a:pt x="11" y="270"/>
                    <a:pt x="21" y="278"/>
                    <a:pt x="33" y="283"/>
                  </a:cubicBezTo>
                  <a:cubicBezTo>
                    <a:pt x="45" y="289"/>
                    <a:pt x="51" y="292"/>
                    <a:pt x="51" y="292"/>
                  </a:cubicBezTo>
                  <a:cubicBezTo>
                    <a:pt x="51" y="292"/>
                    <a:pt x="59" y="292"/>
                    <a:pt x="74" y="292"/>
                  </a:cubicBezTo>
                  <a:cubicBezTo>
                    <a:pt x="93" y="292"/>
                    <a:pt x="109" y="288"/>
                    <a:pt x="122" y="281"/>
                  </a:cubicBezTo>
                  <a:cubicBezTo>
                    <a:pt x="135" y="275"/>
                    <a:pt x="145" y="264"/>
                    <a:pt x="152" y="251"/>
                  </a:cubicBezTo>
                  <a:cubicBezTo>
                    <a:pt x="159" y="237"/>
                    <a:pt x="163" y="221"/>
                    <a:pt x="163" y="202"/>
                  </a:cubicBezTo>
                  <a:cubicBezTo>
                    <a:pt x="163" y="3"/>
                    <a:pt x="163" y="3"/>
                    <a:pt x="163" y="3"/>
                  </a:cubicBezTo>
                  <a:lnTo>
                    <a:pt x="122" y="3"/>
                  </a:lnTo>
                  <a:close/>
                  <a:moveTo>
                    <a:pt x="122" y="133"/>
                  </a:moveTo>
                  <a:cubicBezTo>
                    <a:pt x="122" y="142"/>
                    <a:pt x="121" y="149"/>
                    <a:pt x="118" y="156"/>
                  </a:cubicBezTo>
                  <a:cubicBezTo>
                    <a:pt x="114" y="162"/>
                    <a:pt x="110" y="167"/>
                    <a:pt x="104" y="170"/>
                  </a:cubicBezTo>
                  <a:cubicBezTo>
                    <a:pt x="98" y="174"/>
                    <a:pt x="91" y="175"/>
                    <a:pt x="82" y="175"/>
                  </a:cubicBezTo>
                  <a:cubicBezTo>
                    <a:pt x="69" y="175"/>
                    <a:pt x="58" y="171"/>
                    <a:pt x="51" y="163"/>
                  </a:cubicBezTo>
                  <a:cubicBezTo>
                    <a:pt x="44" y="155"/>
                    <a:pt x="40" y="143"/>
                    <a:pt x="40" y="129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69"/>
                    <a:pt x="44" y="57"/>
                    <a:pt x="51" y="49"/>
                  </a:cubicBezTo>
                  <a:cubicBezTo>
                    <a:pt x="58" y="41"/>
                    <a:pt x="69" y="36"/>
                    <a:pt x="82" y="36"/>
                  </a:cubicBezTo>
                  <a:cubicBezTo>
                    <a:pt x="91" y="36"/>
                    <a:pt x="98" y="38"/>
                    <a:pt x="104" y="41"/>
                  </a:cubicBezTo>
                  <a:cubicBezTo>
                    <a:pt x="110" y="44"/>
                    <a:pt x="114" y="49"/>
                    <a:pt x="118" y="55"/>
                  </a:cubicBezTo>
                  <a:cubicBezTo>
                    <a:pt x="121" y="62"/>
                    <a:pt x="122" y="69"/>
                    <a:pt x="122" y="78"/>
                  </a:cubicBezTo>
                  <a:lnTo>
                    <a:pt x="122" y="133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</p:grpSp>
    </p:spTree>
    <p:extLst>
      <p:ext uri="{BB962C8B-B14F-4D97-AF65-F5344CB8AC3E}">
        <p14:creationId xmlns:p14="http://schemas.microsoft.com/office/powerpoint/2010/main" val="36734574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表紙：LA4_16_9_Onscreen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sp>
        <p:nvSpPr>
          <p:cNvPr id="21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pic>
        <p:nvPicPr>
          <p:cNvPr id="22" name="図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9277" y="5527551"/>
            <a:ext cx="2022302" cy="516581"/>
          </a:xfrm>
          <a:prstGeom prst="rect">
            <a:avLst/>
          </a:prstGeom>
        </p:spPr>
      </p:pic>
      <p:sp>
        <p:nvSpPr>
          <p:cNvPr id="23" name="表紙サブタイトル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4420" y="3898245"/>
            <a:ext cx="4596587" cy="28803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33">
                <a:solidFill>
                  <a:schemeClr val="tx1"/>
                </a:solidFill>
              </a:defRPr>
            </a:lvl1pPr>
            <a:lvl2pPr marL="402393" indent="0" algn="ctr">
              <a:buNone/>
              <a:defRPr sz="1760"/>
            </a:lvl2pPr>
            <a:lvl3pPr marL="804784" indent="0" algn="ctr">
              <a:buNone/>
              <a:defRPr sz="1585"/>
            </a:lvl3pPr>
            <a:lvl4pPr marL="1207176" indent="0" algn="ctr">
              <a:buNone/>
              <a:defRPr sz="1408"/>
            </a:lvl4pPr>
            <a:lvl5pPr marL="1609567" indent="0" algn="ctr">
              <a:buNone/>
              <a:defRPr sz="1408"/>
            </a:lvl5pPr>
            <a:lvl6pPr marL="2011960" indent="0" algn="ctr">
              <a:buNone/>
              <a:defRPr sz="1408"/>
            </a:lvl6pPr>
            <a:lvl7pPr marL="2414352" indent="0" algn="ctr">
              <a:buNone/>
              <a:defRPr sz="1408"/>
            </a:lvl7pPr>
            <a:lvl8pPr marL="2816744" indent="0" algn="ctr">
              <a:buNone/>
              <a:defRPr sz="1408"/>
            </a:lvl8pPr>
            <a:lvl9pPr marL="3219133" indent="0" algn="ctr">
              <a:buNone/>
              <a:defRPr sz="1408"/>
            </a:lvl9pPr>
          </a:lstStyle>
          <a:p>
            <a:r>
              <a:rPr lang="ja-JP" altLang="en-US" noProof="0" dirty="0"/>
              <a:t>表紙</a:t>
            </a:r>
            <a:r>
              <a:rPr lang="ja-JP" altLang="en-US" noProof="0" dirty="0" smtClean="0"/>
              <a:t>サブタイトル（任意）／</a:t>
            </a:r>
            <a:r>
              <a:rPr lang="en-US" altLang="ja-JP" noProof="0" dirty="0" smtClean="0"/>
              <a:t>16pt</a:t>
            </a:r>
          </a:p>
        </p:txBody>
      </p:sp>
      <p:sp>
        <p:nvSpPr>
          <p:cNvPr id="24" name="表紙タイトル"/>
          <p:cNvSpPr>
            <a:spLocks noGrp="1"/>
          </p:cNvSpPr>
          <p:nvPr>
            <p:ph type="ctrTitle" hasCustomPrompt="1"/>
          </p:nvPr>
        </p:nvSpPr>
        <p:spPr bwMode="gray">
          <a:xfrm>
            <a:off x="434422" y="4234245"/>
            <a:ext cx="8028968" cy="1114968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17" b="1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 smtClean="0"/>
              <a:t>表紙タイトル／</a:t>
            </a:r>
            <a:r>
              <a:rPr lang="en-US" altLang="ja-JP" noProof="0" dirty="0" smtClean="0"/>
              <a:t>26pt </a:t>
            </a:r>
            <a:r>
              <a:rPr lang="ja-JP" altLang="en-US" noProof="0" dirty="0" smtClean="0"/>
              <a:t>太字</a:t>
            </a:r>
            <a:r>
              <a:rPr lang="en-US" altLang="ja-JP" noProof="0" dirty="0" smtClean="0"/>
              <a:t/>
            </a:r>
            <a:br>
              <a:rPr lang="en-US" altLang="ja-JP" noProof="0" dirty="0" smtClean="0"/>
            </a:br>
            <a:r>
              <a:rPr lang="ja-JP" altLang="en-US" noProof="0" dirty="0" smtClean="0"/>
              <a:t>表紙タイトル／</a:t>
            </a:r>
            <a:r>
              <a:rPr lang="en-US" altLang="ja-JP" noProof="0" dirty="0" smtClean="0"/>
              <a:t>26pt </a:t>
            </a:r>
            <a:r>
              <a:rPr lang="ja-JP" altLang="en-US" noProof="0" dirty="0" smtClean="0"/>
              <a:t>太字</a:t>
            </a:r>
            <a:endParaRPr lang="en-US" noProof="0" dirty="0"/>
          </a:p>
        </p:txBody>
      </p:sp>
      <p:sp>
        <p:nvSpPr>
          <p:cNvPr id="31" name="バージョン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49277" y="6222469"/>
            <a:ext cx="2022302" cy="206096"/>
          </a:xfrm>
          <a:prstGeom prst="rect">
            <a:avLst/>
          </a:prstGeom>
        </p:spPr>
        <p:txBody>
          <a:bodyPr wrap="square" lIns="36000" tIns="36000" rIns="36000" bIns="3600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67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 err="1" smtClean="0"/>
              <a:t>Ver.XXX</a:t>
            </a:r>
            <a:endParaRPr lang="ja-JP" altLang="en-US" dirty="0"/>
          </a:p>
        </p:txBody>
      </p:sp>
      <p:pic>
        <p:nvPicPr>
          <p:cNvPr id="35" name="図 3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64" y="548679"/>
            <a:ext cx="9034272" cy="3096768"/>
          </a:xfrm>
          <a:prstGeom prst="rect">
            <a:avLst/>
          </a:prstGeom>
        </p:spPr>
      </p:pic>
      <p:grpSp>
        <p:nvGrpSpPr>
          <p:cNvPr id="37" name="Group 4"/>
          <p:cNvGrpSpPr>
            <a:grpSpLocks noChangeAspect="1"/>
          </p:cNvGrpSpPr>
          <p:nvPr/>
        </p:nvGrpSpPr>
        <p:grpSpPr bwMode="auto">
          <a:xfrm>
            <a:off x="7682576" y="1924571"/>
            <a:ext cx="972868" cy="176757"/>
            <a:chOff x="2" y="1195"/>
            <a:chExt cx="5758" cy="850"/>
          </a:xfrm>
          <a:solidFill>
            <a:srgbClr val="00B3C4"/>
          </a:solidFill>
        </p:grpSpPr>
        <p:sp>
          <p:nvSpPr>
            <p:cNvPr id="38" name="Freeform 5"/>
            <p:cNvSpPr>
              <a:spLocks/>
            </p:cNvSpPr>
            <p:nvPr/>
          </p:nvSpPr>
          <p:spPr bwMode="auto">
            <a:xfrm>
              <a:off x="2" y="1195"/>
              <a:ext cx="503" cy="659"/>
            </a:xfrm>
            <a:custGeom>
              <a:avLst/>
              <a:gdLst>
                <a:gd name="T0" fmla="*/ 474 w 503"/>
                <a:gd name="T1" fmla="*/ 0 h 659"/>
                <a:gd name="T2" fmla="*/ 362 w 503"/>
                <a:gd name="T3" fmla="*/ 0 h 659"/>
                <a:gd name="T4" fmla="*/ 92 w 503"/>
                <a:gd name="T5" fmla="*/ 344 h 659"/>
                <a:gd name="T6" fmla="*/ 92 w 503"/>
                <a:gd name="T7" fmla="*/ 0 h 659"/>
                <a:gd name="T8" fmla="*/ 0 w 503"/>
                <a:gd name="T9" fmla="*/ 0 h 659"/>
                <a:gd name="T10" fmla="*/ 0 w 503"/>
                <a:gd name="T11" fmla="*/ 659 h 659"/>
                <a:gd name="T12" fmla="*/ 92 w 503"/>
                <a:gd name="T13" fmla="*/ 659 h 659"/>
                <a:gd name="T14" fmla="*/ 92 w 503"/>
                <a:gd name="T15" fmla="*/ 468 h 659"/>
                <a:gd name="T16" fmla="*/ 199 w 503"/>
                <a:gd name="T17" fmla="*/ 337 h 659"/>
                <a:gd name="T18" fmla="*/ 389 w 503"/>
                <a:gd name="T19" fmla="*/ 659 h 659"/>
                <a:gd name="T20" fmla="*/ 503 w 503"/>
                <a:gd name="T21" fmla="*/ 659 h 659"/>
                <a:gd name="T22" fmla="*/ 264 w 503"/>
                <a:gd name="T23" fmla="*/ 257 h 659"/>
                <a:gd name="T24" fmla="*/ 474 w 503"/>
                <a:gd name="T25" fmla="*/ 0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3" h="659">
                  <a:moveTo>
                    <a:pt x="474" y="0"/>
                  </a:moveTo>
                  <a:lnTo>
                    <a:pt x="362" y="0"/>
                  </a:lnTo>
                  <a:lnTo>
                    <a:pt x="92" y="344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659"/>
                  </a:lnTo>
                  <a:lnTo>
                    <a:pt x="92" y="659"/>
                  </a:lnTo>
                  <a:lnTo>
                    <a:pt x="92" y="468"/>
                  </a:lnTo>
                  <a:lnTo>
                    <a:pt x="199" y="337"/>
                  </a:lnTo>
                  <a:lnTo>
                    <a:pt x="389" y="659"/>
                  </a:lnTo>
                  <a:lnTo>
                    <a:pt x="503" y="659"/>
                  </a:lnTo>
                  <a:lnTo>
                    <a:pt x="264" y="257"/>
                  </a:lnTo>
                  <a:lnTo>
                    <a:pt x="47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auto">
            <a:xfrm>
              <a:off x="743" y="1375"/>
              <a:ext cx="376" cy="479"/>
            </a:xfrm>
            <a:custGeom>
              <a:avLst/>
              <a:gdLst>
                <a:gd name="T0" fmla="*/ 120 w 208"/>
                <a:gd name="T1" fmla="*/ 0 h 263"/>
                <a:gd name="T2" fmla="*/ 77 w 208"/>
                <a:gd name="T3" fmla="*/ 13 h 263"/>
                <a:gd name="T4" fmla="*/ 51 w 208"/>
                <a:gd name="T5" fmla="*/ 40 h 263"/>
                <a:gd name="T6" fmla="*/ 51 w 208"/>
                <a:gd name="T7" fmla="*/ 4 h 263"/>
                <a:gd name="T8" fmla="*/ 0 w 208"/>
                <a:gd name="T9" fmla="*/ 4 h 263"/>
                <a:gd name="T10" fmla="*/ 0 w 208"/>
                <a:gd name="T11" fmla="*/ 263 h 263"/>
                <a:gd name="T12" fmla="*/ 51 w 208"/>
                <a:gd name="T13" fmla="*/ 263 h 263"/>
                <a:gd name="T14" fmla="*/ 51 w 208"/>
                <a:gd name="T15" fmla="*/ 99 h 263"/>
                <a:gd name="T16" fmla="*/ 65 w 208"/>
                <a:gd name="T17" fmla="*/ 62 h 263"/>
                <a:gd name="T18" fmla="*/ 103 w 208"/>
                <a:gd name="T19" fmla="*/ 49 h 263"/>
                <a:gd name="T20" fmla="*/ 143 w 208"/>
                <a:gd name="T21" fmla="*/ 64 h 263"/>
                <a:gd name="T22" fmla="*/ 157 w 208"/>
                <a:gd name="T23" fmla="*/ 106 h 263"/>
                <a:gd name="T24" fmla="*/ 157 w 208"/>
                <a:gd name="T25" fmla="*/ 263 h 263"/>
                <a:gd name="T26" fmla="*/ 208 w 208"/>
                <a:gd name="T27" fmla="*/ 263 h 263"/>
                <a:gd name="T28" fmla="*/ 208 w 208"/>
                <a:gd name="T29" fmla="*/ 106 h 263"/>
                <a:gd name="T30" fmla="*/ 185 w 208"/>
                <a:gd name="T31" fmla="*/ 28 h 263"/>
                <a:gd name="T32" fmla="*/ 120 w 208"/>
                <a:gd name="T33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8" h="263">
                  <a:moveTo>
                    <a:pt x="120" y="0"/>
                  </a:moveTo>
                  <a:cubicBezTo>
                    <a:pt x="104" y="0"/>
                    <a:pt x="90" y="5"/>
                    <a:pt x="77" y="13"/>
                  </a:cubicBezTo>
                  <a:cubicBezTo>
                    <a:pt x="67" y="20"/>
                    <a:pt x="58" y="29"/>
                    <a:pt x="51" y="40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63"/>
                    <a:pt x="0" y="263"/>
                    <a:pt x="0" y="263"/>
                  </a:cubicBezTo>
                  <a:cubicBezTo>
                    <a:pt x="51" y="263"/>
                    <a:pt x="51" y="263"/>
                    <a:pt x="51" y="263"/>
                  </a:cubicBezTo>
                  <a:cubicBezTo>
                    <a:pt x="51" y="99"/>
                    <a:pt x="51" y="99"/>
                    <a:pt x="51" y="99"/>
                  </a:cubicBezTo>
                  <a:cubicBezTo>
                    <a:pt x="51" y="83"/>
                    <a:pt x="56" y="71"/>
                    <a:pt x="65" y="62"/>
                  </a:cubicBezTo>
                  <a:cubicBezTo>
                    <a:pt x="74" y="53"/>
                    <a:pt x="87" y="49"/>
                    <a:pt x="103" y="49"/>
                  </a:cubicBezTo>
                  <a:cubicBezTo>
                    <a:pt x="120" y="49"/>
                    <a:pt x="134" y="54"/>
                    <a:pt x="143" y="64"/>
                  </a:cubicBezTo>
                  <a:cubicBezTo>
                    <a:pt x="153" y="74"/>
                    <a:pt x="157" y="88"/>
                    <a:pt x="157" y="106"/>
                  </a:cubicBezTo>
                  <a:cubicBezTo>
                    <a:pt x="157" y="263"/>
                    <a:pt x="157" y="263"/>
                    <a:pt x="157" y="263"/>
                  </a:cubicBezTo>
                  <a:cubicBezTo>
                    <a:pt x="208" y="263"/>
                    <a:pt x="208" y="263"/>
                    <a:pt x="208" y="263"/>
                  </a:cubicBezTo>
                  <a:cubicBezTo>
                    <a:pt x="208" y="106"/>
                    <a:pt x="208" y="106"/>
                    <a:pt x="208" y="106"/>
                  </a:cubicBezTo>
                  <a:cubicBezTo>
                    <a:pt x="208" y="72"/>
                    <a:pt x="200" y="46"/>
                    <a:pt x="185" y="28"/>
                  </a:cubicBezTo>
                  <a:cubicBezTo>
                    <a:pt x="170" y="10"/>
                    <a:pt x="148" y="0"/>
                    <a:pt x="12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40" name="Freeform 7"/>
            <p:cNvSpPr>
              <a:spLocks noEditPoints="1"/>
            </p:cNvSpPr>
            <p:nvPr/>
          </p:nvSpPr>
          <p:spPr bwMode="auto">
            <a:xfrm>
              <a:off x="1413" y="1375"/>
              <a:ext cx="386" cy="484"/>
            </a:xfrm>
            <a:custGeom>
              <a:avLst/>
              <a:gdLst>
                <a:gd name="T0" fmla="*/ 164 w 213"/>
                <a:gd name="T1" fmla="*/ 13 h 266"/>
                <a:gd name="T2" fmla="*/ 106 w 213"/>
                <a:gd name="T3" fmla="*/ 0 h 266"/>
                <a:gd name="T4" fmla="*/ 49 w 213"/>
                <a:gd name="T5" fmla="*/ 13 h 266"/>
                <a:gd name="T6" fmla="*/ 12 w 213"/>
                <a:gd name="T7" fmla="*/ 52 h 266"/>
                <a:gd name="T8" fmla="*/ 0 w 213"/>
                <a:gd name="T9" fmla="*/ 112 h 266"/>
                <a:gd name="T10" fmla="*/ 0 w 213"/>
                <a:gd name="T11" fmla="*/ 154 h 266"/>
                <a:gd name="T12" fmla="*/ 12 w 213"/>
                <a:gd name="T13" fmla="*/ 215 h 266"/>
                <a:gd name="T14" fmla="*/ 49 w 213"/>
                <a:gd name="T15" fmla="*/ 253 h 266"/>
                <a:gd name="T16" fmla="*/ 106 w 213"/>
                <a:gd name="T17" fmla="*/ 266 h 266"/>
                <a:gd name="T18" fmla="*/ 164 w 213"/>
                <a:gd name="T19" fmla="*/ 253 h 266"/>
                <a:gd name="T20" fmla="*/ 200 w 213"/>
                <a:gd name="T21" fmla="*/ 215 h 266"/>
                <a:gd name="T22" fmla="*/ 213 w 213"/>
                <a:gd name="T23" fmla="*/ 155 h 266"/>
                <a:gd name="T24" fmla="*/ 213 w 213"/>
                <a:gd name="T25" fmla="*/ 112 h 266"/>
                <a:gd name="T26" fmla="*/ 200 w 213"/>
                <a:gd name="T27" fmla="*/ 52 h 266"/>
                <a:gd name="T28" fmla="*/ 164 w 213"/>
                <a:gd name="T29" fmla="*/ 13 h 266"/>
                <a:gd name="T30" fmla="*/ 162 w 213"/>
                <a:gd name="T31" fmla="*/ 155 h 266"/>
                <a:gd name="T32" fmla="*/ 147 w 213"/>
                <a:gd name="T33" fmla="*/ 201 h 266"/>
                <a:gd name="T34" fmla="*/ 106 w 213"/>
                <a:gd name="T35" fmla="*/ 218 h 266"/>
                <a:gd name="T36" fmla="*/ 65 w 213"/>
                <a:gd name="T37" fmla="*/ 201 h 266"/>
                <a:gd name="T38" fmla="*/ 50 w 213"/>
                <a:gd name="T39" fmla="*/ 155 h 266"/>
                <a:gd name="T40" fmla="*/ 50 w 213"/>
                <a:gd name="T41" fmla="*/ 112 h 266"/>
                <a:gd name="T42" fmla="*/ 65 w 213"/>
                <a:gd name="T43" fmla="*/ 65 h 266"/>
                <a:gd name="T44" fmla="*/ 106 w 213"/>
                <a:gd name="T45" fmla="*/ 49 h 266"/>
                <a:gd name="T46" fmla="*/ 147 w 213"/>
                <a:gd name="T47" fmla="*/ 65 h 266"/>
                <a:gd name="T48" fmla="*/ 162 w 213"/>
                <a:gd name="T49" fmla="*/ 112 h 266"/>
                <a:gd name="T50" fmla="*/ 162 w 213"/>
                <a:gd name="T51" fmla="*/ 155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3" h="266">
                  <a:moveTo>
                    <a:pt x="164" y="13"/>
                  </a:moveTo>
                  <a:cubicBezTo>
                    <a:pt x="148" y="5"/>
                    <a:pt x="129" y="0"/>
                    <a:pt x="106" y="0"/>
                  </a:cubicBezTo>
                  <a:cubicBezTo>
                    <a:pt x="84" y="0"/>
                    <a:pt x="65" y="5"/>
                    <a:pt x="49" y="13"/>
                  </a:cubicBezTo>
                  <a:cubicBezTo>
                    <a:pt x="33" y="22"/>
                    <a:pt x="21" y="35"/>
                    <a:pt x="12" y="52"/>
                  </a:cubicBezTo>
                  <a:cubicBezTo>
                    <a:pt x="4" y="68"/>
                    <a:pt x="0" y="88"/>
                    <a:pt x="0" y="112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178"/>
                    <a:pt x="4" y="198"/>
                    <a:pt x="12" y="215"/>
                  </a:cubicBezTo>
                  <a:cubicBezTo>
                    <a:pt x="21" y="232"/>
                    <a:pt x="33" y="244"/>
                    <a:pt x="49" y="253"/>
                  </a:cubicBezTo>
                  <a:cubicBezTo>
                    <a:pt x="65" y="262"/>
                    <a:pt x="84" y="266"/>
                    <a:pt x="106" y="266"/>
                  </a:cubicBezTo>
                  <a:cubicBezTo>
                    <a:pt x="129" y="266"/>
                    <a:pt x="148" y="262"/>
                    <a:pt x="164" y="253"/>
                  </a:cubicBezTo>
                  <a:cubicBezTo>
                    <a:pt x="180" y="244"/>
                    <a:pt x="192" y="232"/>
                    <a:pt x="200" y="215"/>
                  </a:cubicBezTo>
                  <a:cubicBezTo>
                    <a:pt x="209" y="198"/>
                    <a:pt x="213" y="178"/>
                    <a:pt x="213" y="155"/>
                  </a:cubicBezTo>
                  <a:cubicBezTo>
                    <a:pt x="213" y="112"/>
                    <a:pt x="213" y="112"/>
                    <a:pt x="213" y="112"/>
                  </a:cubicBezTo>
                  <a:cubicBezTo>
                    <a:pt x="213" y="88"/>
                    <a:pt x="209" y="68"/>
                    <a:pt x="200" y="52"/>
                  </a:cubicBezTo>
                  <a:cubicBezTo>
                    <a:pt x="192" y="35"/>
                    <a:pt x="180" y="22"/>
                    <a:pt x="164" y="13"/>
                  </a:cubicBezTo>
                  <a:close/>
                  <a:moveTo>
                    <a:pt x="162" y="155"/>
                  </a:moveTo>
                  <a:cubicBezTo>
                    <a:pt x="162" y="175"/>
                    <a:pt x="157" y="190"/>
                    <a:pt x="147" y="201"/>
                  </a:cubicBezTo>
                  <a:cubicBezTo>
                    <a:pt x="138" y="212"/>
                    <a:pt x="124" y="218"/>
                    <a:pt x="106" y="218"/>
                  </a:cubicBezTo>
                  <a:cubicBezTo>
                    <a:pt x="88" y="218"/>
                    <a:pt x="75" y="212"/>
                    <a:pt x="65" y="201"/>
                  </a:cubicBezTo>
                  <a:cubicBezTo>
                    <a:pt x="55" y="190"/>
                    <a:pt x="50" y="175"/>
                    <a:pt x="50" y="155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50" y="92"/>
                    <a:pt x="55" y="76"/>
                    <a:pt x="65" y="65"/>
                  </a:cubicBezTo>
                  <a:cubicBezTo>
                    <a:pt x="75" y="54"/>
                    <a:pt x="88" y="49"/>
                    <a:pt x="106" y="49"/>
                  </a:cubicBezTo>
                  <a:cubicBezTo>
                    <a:pt x="124" y="49"/>
                    <a:pt x="138" y="54"/>
                    <a:pt x="147" y="65"/>
                  </a:cubicBezTo>
                  <a:cubicBezTo>
                    <a:pt x="157" y="76"/>
                    <a:pt x="162" y="92"/>
                    <a:pt x="162" y="112"/>
                  </a:cubicBezTo>
                  <a:lnTo>
                    <a:pt x="162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41" name="Freeform 8"/>
            <p:cNvSpPr>
              <a:spLocks/>
            </p:cNvSpPr>
            <p:nvPr/>
          </p:nvSpPr>
          <p:spPr bwMode="auto">
            <a:xfrm>
              <a:off x="2045" y="1383"/>
              <a:ext cx="656" cy="471"/>
            </a:xfrm>
            <a:custGeom>
              <a:avLst/>
              <a:gdLst>
                <a:gd name="T0" fmla="*/ 478 w 656"/>
                <a:gd name="T1" fmla="*/ 336 h 471"/>
                <a:gd name="T2" fmla="*/ 360 w 656"/>
                <a:gd name="T3" fmla="*/ 0 h 471"/>
                <a:gd name="T4" fmla="*/ 297 w 656"/>
                <a:gd name="T5" fmla="*/ 0 h 471"/>
                <a:gd name="T6" fmla="*/ 179 w 656"/>
                <a:gd name="T7" fmla="*/ 336 h 471"/>
                <a:gd name="T8" fmla="*/ 96 w 656"/>
                <a:gd name="T9" fmla="*/ 0 h 471"/>
                <a:gd name="T10" fmla="*/ 0 w 656"/>
                <a:gd name="T11" fmla="*/ 0 h 471"/>
                <a:gd name="T12" fmla="*/ 145 w 656"/>
                <a:gd name="T13" fmla="*/ 471 h 471"/>
                <a:gd name="T14" fmla="*/ 214 w 656"/>
                <a:gd name="T15" fmla="*/ 471 h 471"/>
                <a:gd name="T16" fmla="*/ 328 w 656"/>
                <a:gd name="T17" fmla="*/ 145 h 471"/>
                <a:gd name="T18" fmla="*/ 442 w 656"/>
                <a:gd name="T19" fmla="*/ 471 h 471"/>
                <a:gd name="T20" fmla="*/ 513 w 656"/>
                <a:gd name="T21" fmla="*/ 471 h 471"/>
                <a:gd name="T22" fmla="*/ 656 w 656"/>
                <a:gd name="T23" fmla="*/ 0 h 471"/>
                <a:gd name="T24" fmla="*/ 560 w 656"/>
                <a:gd name="T25" fmla="*/ 0 h 471"/>
                <a:gd name="T26" fmla="*/ 478 w 656"/>
                <a:gd name="T27" fmla="*/ 336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6" h="471">
                  <a:moveTo>
                    <a:pt x="478" y="336"/>
                  </a:moveTo>
                  <a:lnTo>
                    <a:pt x="360" y="0"/>
                  </a:lnTo>
                  <a:lnTo>
                    <a:pt x="297" y="0"/>
                  </a:lnTo>
                  <a:lnTo>
                    <a:pt x="179" y="336"/>
                  </a:lnTo>
                  <a:lnTo>
                    <a:pt x="96" y="0"/>
                  </a:lnTo>
                  <a:lnTo>
                    <a:pt x="0" y="0"/>
                  </a:lnTo>
                  <a:lnTo>
                    <a:pt x="145" y="471"/>
                  </a:lnTo>
                  <a:lnTo>
                    <a:pt x="214" y="471"/>
                  </a:lnTo>
                  <a:lnTo>
                    <a:pt x="328" y="145"/>
                  </a:lnTo>
                  <a:lnTo>
                    <a:pt x="442" y="471"/>
                  </a:lnTo>
                  <a:lnTo>
                    <a:pt x="513" y="471"/>
                  </a:lnTo>
                  <a:lnTo>
                    <a:pt x="656" y="0"/>
                  </a:lnTo>
                  <a:lnTo>
                    <a:pt x="560" y="0"/>
                  </a:lnTo>
                  <a:lnTo>
                    <a:pt x="478" y="3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42" name="Freeform 9"/>
            <p:cNvSpPr>
              <a:spLocks/>
            </p:cNvSpPr>
            <p:nvPr/>
          </p:nvSpPr>
          <p:spPr bwMode="auto">
            <a:xfrm>
              <a:off x="2967" y="1195"/>
              <a:ext cx="165" cy="661"/>
            </a:xfrm>
            <a:custGeom>
              <a:avLst/>
              <a:gdLst>
                <a:gd name="T0" fmla="*/ 55 w 91"/>
                <a:gd name="T1" fmla="*/ 309 h 363"/>
                <a:gd name="T2" fmla="*/ 51 w 91"/>
                <a:gd name="T3" fmla="*/ 295 h 363"/>
                <a:gd name="T4" fmla="*/ 51 w 91"/>
                <a:gd name="T5" fmla="*/ 0 h 363"/>
                <a:gd name="T6" fmla="*/ 0 w 91"/>
                <a:gd name="T7" fmla="*/ 0 h 363"/>
                <a:gd name="T8" fmla="*/ 0 w 91"/>
                <a:gd name="T9" fmla="*/ 294 h 363"/>
                <a:gd name="T10" fmla="*/ 16 w 91"/>
                <a:gd name="T11" fmla="*/ 345 h 363"/>
                <a:gd name="T12" fmla="*/ 61 w 91"/>
                <a:gd name="T13" fmla="*/ 363 h 363"/>
                <a:gd name="T14" fmla="*/ 91 w 91"/>
                <a:gd name="T15" fmla="*/ 363 h 363"/>
                <a:gd name="T16" fmla="*/ 91 w 91"/>
                <a:gd name="T17" fmla="*/ 315 h 363"/>
                <a:gd name="T18" fmla="*/ 67 w 91"/>
                <a:gd name="T19" fmla="*/ 315 h 363"/>
                <a:gd name="T20" fmla="*/ 55 w 91"/>
                <a:gd name="T21" fmla="*/ 309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1" h="363">
                  <a:moveTo>
                    <a:pt x="55" y="309"/>
                  </a:moveTo>
                  <a:cubicBezTo>
                    <a:pt x="52" y="306"/>
                    <a:pt x="51" y="301"/>
                    <a:pt x="51" y="295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0" y="316"/>
                    <a:pt x="5" y="333"/>
                    <a:pt x="16" y="345"/>
                  </a:cubicBezTo>
                  <a:cubicBezTo>
                    <a:pt x="26" y="357"/>
                    <a:pt x="41" y="363"/>
                    <a:pt x="61" y="363"/>
                  </a:cubicBezTo>
                  <a:cubicBezTo>
                    <a:pt x="91" y="363"/>
                    <a:pt x="91" y="363"/>
                    <a:pt x="91" y="363"/>
                  </a:cubicBezTo>
                  <a:cubicBezTo>
                    <a:pt x="91" y="315"/>
                    <a:pt x="91" y="315"/>
                    <a:pt x="91" y="315"/>
                  </a:cubicBezTo>
                  <a:cubicBezTo>
                    <a:pt x="67" y="315"/>
                    <a:pt x="67" y="315"/>
                    <a:pt x="67" y="315"/>
                  </a:cubicBezTo>
                  <a:cubicBezTo>
                    <a:pt x="62" y="315"/>
                    <a:pt x="58" y="313"/>
                    <a:pt x="55" y="3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43" name="Freeform 10"/>
            <p:cNvSpPr>
              <a:spLocks noEditPoints="1"/>
            </p:cNvSpPr>
            <p:nvPr/>
          </p:nvSpPr>
          <p:spPr bwMode="auto">
            <a:xfrm>
              <a:off x="3387" y="1375"/>
              <a:ext cx="382" cy="484"/>
            </a:xfrm>
            <a:custGeom>
              <a:avLst/>
              <a:gdLst>
                <a:gd name="T0" fmla="*/ 164 w 211"/>
                <a:gd name="T1" fmla="*/ 17 h 266"/>
                <a:gd name="T2" fmla="*/ 109 w 211"/>
                <a:gd name="T3" fmla="*/ 0 h 266"/>
                <a:gd name="T4" fmla="*/ 50 w 211"/>
                <a:gd name="T5" fmla="*/ 15 h 266"/>
                <a:gd name="T6" fmla="*/ 13 w 211"/>
                <a:gd name="T7" fmla="*/ 56 h 266"/>
                <a:gd name="T8" fmla="*/ 0 w 211"/>
                <a:gd name="T9" fmla="*/ 121 h 266"/>
                <a:gd name="T10" fmla="*/ 0 w 211"/>
                <a:gd name="T11" fmla="*/ 151 h 266"/>
                <a:gd name="T12" fmla="*/ 13 w 211"/>
                <a:gd name="T13" fmla="*/ 213 h 266"/>
                <a:gd name="T14" fmla="*/ 52 w 211"/>
                <a:gd name="T15" fmla="*/ 253 h 266"/>
                <a:gd name="T16" fmla="*/ 78 w 211"/>
                <a:gd name="T17" fmla="*/ 266 h 266"/>
                <a:gd name="T18" fmla="*/ 113 w 211"/>
                <a:gd name="T19" fmla="*/ 266 h 266"/>
                <a:gd name="T20" fmla="*/ 161 w 211"/>
                <a:gd name="T21" fmla="*/ 256 h 266"/>
                <a:gd name="T22" fmla="*/ 205 w 211"/>
                <a:gd name="T23" fmla="*/ 228 h 266"/>
                <a:gd name="T24" fmla="*/ 171 w 211"/>
                <a:gd name="T25" fmla="*/ 194 h 266"/>
                <a:gd name="T26" fmla="*/ 144 w 211"/>
                <a:gd name="T27" fmla="*/ 212 h 266"/>
                <a:gd name="T28" fmla="*/ 113 w 211"/>
                <a:gd name="T29" fmla="*/ 218 h 266"/>
                <a:gd name="T30" fmla="*/ 65 w 211"/>
                <a:gd name="T31" fmla="*/ 201 h 266"/>
                <a:gd name="T32" fmla="*/ 49 w 211"/>
                <a:gd name="T33" fmla="*/ 154 h 266"/>
                <a:gd name="T34" fmla="*/ 211 w 211"/>
                <a:gd name="T35" fmla="*/ 154 h 266"/>
                <a:gd name="T36" fmla="*/ 211 w 211"/>
                <a:gd name="T37" fmla="*/ 137 h 266"/>
                <a:gd name="T38" fmla="*/ 199 w 211"/>
                <a:gd name="T39" fmla="*/ 63 h 266"/>
                <a:gd name="T40" fmla="*/ 164 w 211"/>
                <a:gd name="T41" fmla="*/ 17 h 266"/>
                <a:gd name="T42" fmla="*/ 49 w 211"/>
                <a:gd name="T43" fmla="*/ 113 h 266"/>
                <a:gd name="T44" fmla="*/ 64 w 211"/>
                <a:gd name="T45" fmla="*/ 65 h 266"/>
                <a:gd name="T46" fmla="*/ 109 w 211"/>
                <a:gd name="T47" fmla="*/ 46 h 266"/>
                <a:gd name="T48" fmla="*/ 147 w 211"/>
                <a:gd name="T49" fmla="*/ 64 h 266"/>
                <a:gd name="T50" fmla="*/ 163 w 211"/>
                <a:gd name="T51" fmla="*/ 113 h 266"/>
                <a:gd name="T52" fmla="*/ 49 w 211"/>
                <a:gd name="T53" fmla="*/ 113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11" h="266">
                  <a:moveTo>
                    <a:pt x="164" y="17"/>
                  </a:moveTo>
                  <a:cubicBezTo>
                    <a:pt x="149" y="6"/>
                    <a:pt x="131" y="0"/>
                    <a:pt x="109" y="0"/>
                  </a:cubicBezTo>
                  <a:cubicBezTo>
                    <a:pt x="86" y="0"/>
                    <a:pt x="66" y="5"/>
                    <a:pt x="50" y="15"/>
                  </a:cubicBezTo>
                  <a:cubicBezTo>
                    <a:pt x="34" y="24"/>
                    <a:pt x="21" y="38"/>
                    <a:pt x="13" y="56"/>
                  </a:cubicBezTo>
                  <a:cubicBezTo>
                    <a:pt x="4" y="74"/>
                    <a:pt x="0" y="96"/>
                    <a:pt x="0" y="12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75"/>
                    <a:pt x="5" y="196"/>
                    <a:pt x="13" y="213"/>
                  </a:cubicBezTo>
                  <a:cubicBezTo>
                    <a:pt x="22" y="231"/>
                    <a:pt x="35" y="244"/>
                    <a:pt x="52" y="253"/>
                  </a:cubicBezTo>
                  <a:cubicBezTo>
                    <a:pt x="69" y="262"/>
                    <a:pt x="78" y="266"/>
                    <a:pt x="78" y="266"/>
                  </a:cubicBezTo>
                  <a:cubicBezTo>
                    <a:pt x="78" y="266"/>
                    <a:pt x="89" y="266"/>
                    <a:pt x="113" y="266"/>
                  </a:cubicBezTo>
                  <a:cubicBezTo>
                    <a:pt x="130" y="266"/>
                    <a:pt x="146" y="263"/>
                    <a:pt x="161" y="256"/>
                  </a:cubicBezTo>
                  <a:cubicBezTo>
                    <a:pt x="177" y="250"/>
                    <a:pt x="192" y="240"/>
                    <a:pt x="205" y="228"/>
                  </a:cubicBezTo>
                  <a:cubicBezTo>
                    <a:pt x="171" y="194"/>
                    <a:pt x="171" y="194"/>
                    <a:pt x="171" y="194"/>
                  </a:cubicBezTo>
                  <a:cubicBezTo>
                    <a:pt x="163" y="202"/>
                    <a:pt x="154" y="208"/>
                    <a:pt x="144" y="212"/>
                  </a:cubicBezTo>
                  <a:cubicBezTo>
                    <a:pt x="134" y="216"/>
                    <a:pt x="124" y="218"/>
                    <a:pt x="113" y="218"/>
                  </a:cubicBezTo>
                  <a:cubicBezTo>
                    <a:pt x="93" y="218"/>
                    <a:pt x="77" y="212"/>
                    <a:pt x="65" y="201"/>
                  </a:cubicBezTo>
                  <a:cubicBezTo>
                    <a:pt x="54" y="190"/>
                    <a:pt x="49" y="174"/>
                    <a:pt x="49" y="154"/>
                  </a:cubicBezTo>
                  <a:cubicBezTo>
                    <a:pt x="211" y="154"/>
                    <a:pt x="211" y="154"/>
                    <a:pt x="211" y="154"/>
                  </a:cubicBezTo>
                  <a:cubicBezTo>
                    <a:pt x="211" y="137"/>
                    <a:pt x="211" y="137"/>
                    <a:pt x="211" y="137"/>
                  </a:cubicBezTo>
                  <a:cubicBezTo>
                    <a:pt x="211" y="108"/>
                    <a:pt x="207" y="84"/>
                    <a:pt x="199" y="63"/>
                  </a:cubicBezTo>
                  <a:cubicBezTo>
                    <a:pt x="191" y="43"/>
                    <a:pt x="179" y="27"/>
                    <a:pt x="164" y="17"/>
                  </a:cubicBezTo>
                  <a:close/>
                  <a:moveTo>
                    <a:pt x="49" y="113"/>
                  </a:moveTo>
                  <a:cubicBezTo>
                    <a:pt x="49" y="93"/>
                    <a:pt x="55" y="77"/>
                    <a:pt x="64" y="65"/>
                  </a:cubicBezTo>
                  <a:cubicBezTo>
                    <a:pt x="75" y="52"/>
                    <a:pt x="90" y="46"/>
                    <a:pt x="109" y="46"/>
                  </a:cubicBezTo>
                  <a:cubicBezTo>
                    <a:pt x="125" y="46"/>
                    <a:pt x="137" y="52"/>
                    <a:pt x="147" y="64"/>
                  </a:cubicBezTo>
                  <a:cubicBezTo>
                    <a:pt x="156" y="75"/>
                    <a:pt x="161" y="92"/>
                    <a:pt x="163" y="113"/>
                  </a:cubicBezTo>
                  <a:lnTo>
                    <a:pt x="49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44" name="Freeform 11"/>
            <p:cNvSpPr>
              <a:spLocks noEditPoints="1"/>
            </p:cNvSpPr>
            <p:nvPr/>
          </p:nvSpPr>
          <p:spPr bwMode="auto">
            <a:xfrm>
              <a:off x="4048" y="1195"/>
              <a:ext cx="373" cy="666"/>
            </a:xfrm>
            <a:custGeom>
              <a:avLst/>
              <a:gdLst>
                <a:gd name="T0" fmla="*/ 155 w 206"/>
                <a:gd name="T1" fmla="*/ 136 h 366"/>
                <a:gd name="T2" fmla="*/ 129 w 206"/>
                <a:gd name="T3" fmla="*/ 111 h 366"/>
                <a:gd name="T4" fmla="*/ 87 w 206"/>
                <a:gd name="T5" fmla="*/ 99 h 366"/>
                <a:gd name="T6" fmla="*/ 40 w 206"/>
                <a:gd name="T7" fmla="*/ 111 h 366"/>
                <a:gd name="T8" fmla="*/ 11 w 206"/>
                <a:gd name="T9" fmla="*/ 147 h 366"/>
                <a:gd name="T10" fmla="*/ 0 w 206"/>
                <a:gd name="T11" fmla="*/ 204 h 366"/>
                <a:gd name="T12" fmla="*/ 0 w 206"/>
                <a:gd name="T13" fmla="*/ 261 h 366"/>
                <a:gd name="T14" fmla="*/ 11 w 206"/>
                <a:gd name="T15" fmla="*/ 318 h 366"/>
                <a:gd name="T16" fmla="*/ 41 w 206"/>
                <a:gd name="T17" fmla="*/ 354 h 366"/>
                <a:gd name="T18" fmla="*/ 90 w 206"/>
                <a:gd name="T19" fmla="*/ 366 h 366"/>
                <a:gd name="T20" fmla="*/ 133 w 206"/>
                <a:gd name="T21" fmla="*/ 353 h 366"/>
                <a:gd name="T22" fmla="*/ 155 w 206"/>
                <a:gd name="T23" fmla="*/ 328 h 366"/>
                <a:gd name="T24" fmla="*/ 155 w 206"/>
                <a:gd name="T25" fmla="*/ 362 h 366"/>
                <a:gd name="T26" fmla="*/ 206 w 206"/>
                <a:gd name="T27" fmla="*/ 362 h 366"/>
                <a:gd name="T28" fmla="*/ 206 w 206"/>
                <a:gd name="T29" fmla="*/ 0 h 366"/>
                <a:gd name="T30" fmla="*/ 155 w 206"/>
                <a:gd name="T31" fmla="*/ 0 h 366"/>
                <a:gd name="T32" fmla="*/ 155 w 206"/>
                <a:gd name="T33" fmla="*/ 136 h 366"/>
                <a:gd name="T34" fmla="*/ 155 w 206"/>
                <a:gd name="T35" fmla="*/ 266 h 366"/>
                <a:gd name="T36" fmla="*/ 149 w 206"/>
                <a:gd name="T37" fmla="*/ 295 h 366"/>
                <a:gd name="T38" fmla="*/ 131 w 206"/>
                <a:gd name="T39" fmla="*/ 313 h 366"/>
                <a:gd name="T40" fmla="*/ 104 w 206"/>
                <a:gd name="T41" fmla="*/ 320 h 366"/>
                <a:gd name="T42" fmla="*/ 65 w 206"/>
                <a:gd name="T43" fmla="*/ 304 h 366"/>
                <a:gd name="T44" fmla="*/ 51 w 206"/>
                <a:gd name="T45" fmla="*/ 261 h 366"/>
                <a:gd name="T46" fmla="*/ 51 w 206"/>
                <a:gd name="T47" fmla="*/ 205 h 366"/>
                <a:gd name="T48" fmla="*/ 65 w 206"/>
                <a:gd name="T49" fmla="*/ 161 h 366"/>
                <a:gd name="T50" fmla="*/ 104 w 206"/>
                <a:gd name="T51" fmla="*/ 145 h 366"/>
                <a:gd name="T52" fmla="*/ 131 w 206"/>
                <a:gd name="T53" fmla="*/ 151 h 366"/>
                <a:gd name="T54" fmla="*/ 149 w 206"/>
                <a:gd name="T55" fmla="*/ 169 h 366"/>
                <a:gd name="T56" fmla="*/ 155 w 206"/>
                <a:gd name="T57" fmla="*/ 197 h 366"/>
                <a:gd name="T58" fmla="*/ 155 w 206"/>
                <a:gd name="T59" fmla="*/ 2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6" h="366">
                  <a:moveTo>
                    <a:pt x="155" y="136"/>
                  </a:moveTo>
                  <a:cubicBezTo>
                    <a:pt x="148" y="125"/>
                    <a:pt x="139" y="117"/>
                    <a:pt x="129" y="111"/>
                  </a:cubicBezTo>
                  <a:cubicBezTo>
                    <a:pt x="117" y="103"/>
                    <a:pt x="103" y="99"/>
                    <a:pt x="87" y="99"/>
                  </a:cubicBezTo>
                  <a:cubicBezTo>
                    <a:pt x="69" y="99"/>
                    <a:pt x="53" y="103"/>
                    <a:pt x="40" y="111"/>
                  </a:cubicBezTo>
                  <a:cubicBezTo>
                    <a:pt x="27" y="119"/>
                    <a:pt x="17" y="131"/>
                    <a:pt x="11" y="147"/>
                  </a:cubicBezTo>
                  <a:cubicBezTo>
                    <a:pt x="4" y="163"/>
                    <a:pt x="0" y="182"/>
                    <a:pt x="0" y="204"/>
                  </a:cubicBezTo>
                  <a:cubicBezTo>
                    <a:pt x="0" y="261"/>
                    <a:pt x="0" y="261"/>
                    <a:pt x="0" y="261"/>
                  </a:cubicBezTo>
                  <a:cubicBezTo>
                    <a:pt x="0" y="283"/>
                    <a:pt x="4" y="302"/>
                    <a:pt x="11" y="318"/>
                  </a:cubicBezTo>
                  <a:cubicBezTo>
                    <a:pt x="18" y="334"/>
                    <a:pt x="28" y="346"/>
                    <a:pt x="41" y="354"/>
                  </a:cubicBezTo>
                  <a:cubicBezTo>
                    <a:pt x="55" y="362"/>
                    <a:pt x="71" y="366"/>
                    <a:pt x="90" y="366"/>
                  </a:cubicBezTo>
                  <a:cubicBezTo>
                    <a:pt x="107" y="366"/>
                    <a:pt x="121" y="362"/>
                    <a:pt x="133" y="353"/>
                  </a:cubicBezTo>
                  <a:cubicBezTo>
                    <a:pt x="142" y="346"/>
                    <a:pt x="150" y="338"/>
                    <a:pt x="155" y="328"/>
                  </a:cubicBezTo>
                  <a:cubicBezTo>
                    <a:pt x="155" y="362"/>
                    <a:pt x="155" y="362"/>
                    <a:pt x="155" y="362"/>
                  </a:cubicBezTo>
                  <a:cubicBezTo>
                    <a:pt x="206" y="362"/>
                    <a:pt x="206" y="362"/>
                    <a:pt x="206" y="362"/>
                  </a:cubicBezTo>
                  <a:cubicBezTo>
                    <a:pt x="206" y="0"/>
                    <a:pt x="206" y="0"/>
                    <a:pt x="206" y="0"/>
                  </a:cubicBezTo>
                  <a:cubicBezTo>
                    <a:pt x="155" y="0"/>
                    <a:pt x="155" y="0"/>
                    <a:pt x="155" y="0"/>
                  </a:cubicBezTo>
                  <a:lnTo>
                    <a:pt x="155" y="136"/>
                  </a:lnTo>
                  <a:close/>
                  <a:moveTo>
                    <a:pt x="155" y="266"/>
                  </a:moveTo>
                  <a:cubicBezTo>
                    <a:pt x="155" y="278"/>
                    <a:pt x="153" y="287"/>
                    <a:pt x="149" y="295"/>
                  </a:cubicBezTo>
                  <a:cubicBezTo>
                    <a:pt x="145" y="303"/>
                    <a:pt x="139" y="309"/>
                    <a:pt x="131" y="313"/>
                  </a:cubicBezTo>
                  <a:cubicBezTo>
                    <a:pt x="124" y="318"/>
                    <a:pt x="115" y="320"/>
                    <a:pt x="104" y="320"/>
                  </a:cubicBezTo>
                  <a:cubicBezTo>
                    <a:pt x="87" y="320"/>
                    <a:pt x="74" y="315"/>
                    <a:pt x="65" y="304"/>
                  </a:cubicBezTo>
                  <a:cubicBezTo>
                    <a:pt x="56" y="294"/>
                    <a:pt x="51" y="280"/>
                    <a:pt x="51" y="261"/>
                  </a:cubicBezTo>
                  <a:cubicBezTo>
                    <a:pt x="51" y="205"/>
                    <a:pt x="51" y="205"/>
                    <a:pt x="51" y="205"/>
                  </a:cubicBezTo>
                  <a:cubicBezTo>
                    <a:pt x="51" y="186"/>
                    <a:pt x="56" y="171"/>
                    <a:pt x="65" y="161"/>
                  </a:cubicBezTo>
                  <a:cubicBezTo>
                    <a:pt x="74" y="150"/>
                    <a:pt x="87" y="145"/>
                    <a:pt x="104" y="145"/>
                  </a:cubicBezTo>
                  <a:cubicBezTo>
                    <a:pt x="115" y="145"/>
                    <a:pt x="124" y="147"/>
                    <a:pt x="131" y="151"/>
                  </a:cubicBezTo>
                  <a:cubicBezTo>
                    <a:pt x="139" y="155"/>
                    <a:pt x="145" y="161"/>
                    <a:pt x="149" y="169"/>
                  </a:cubicBezTo>
                  <a:cubicBezTo>
                    <a:pt x="153" y="177"/>
                    <a:pt x="155" y="186"/>
                    <a:pt x="155" y="197"/>
                  </a:cubicBezTo>
                  <a:lnTo>
                    <a:pt x="155" y="2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45" name="Freeform 12"/>
            <p:cNvSpPr>
              <a:spLocks noEditPoints="1"/>
            </p:cNvSpPr>
            <p:nvPr/>
          </p:nvSpPr>
          <p:spPr bwMode="auto">
            <a:xfrm>
              <a:off x="4713" y="1375"/>
              <a:ext cx="371" cy="670"/>
            </a:xfrm>
            <a:custGeom>
              <a:avLst/>
              <a:gdLst>
                <a:gd name="T0" fmla="*/ 154 w 205"/>
                <a:gd name="T1" fmla="*/ 37 h 368"/>
                <a:gd name="T2" fmla="*/ 129 w 205"/>
                <a:gd name="T3" fmla="*/ 12 h 368"/>
                <a:gd name="T4" fmla="*/ 87 w 205"/>
                <a:gd name="T5" fmla="*/ 0 h 368"/>
                <a:gd name="T6" fmla="*/ 40 w 205"/>
                <a:gd name="T7" fmla="*/ 12 h 368"/>
                <a:gd name="T8" fmla="*/ 10 w 205"/>
                <a:gd name="T9" fmla="*/ 48 h 368"/>
                <a:gd name="T10" fmla="*/ 0 w 205"/>
                <a:gd name="T11" fmla="*/ 105 h 368"/>
                <a:gd name="T12" fmla="*/ 0 w 205"/>
                <a:gd name="T13" fmla="*/ 162 h 368"/>
                <a:gd name="T14" fmla="*/ 11 w 205"/>
                <a:gd name="T15" fmla="*/ 219 h 368"/>
                <a:gd name="T16" fmla="*/ 41 w 205"/>
                <a:gd name="T17" fmla="*/ 255 h 368"/>
                <a:gd name="T18" fmla="*/ 89 w 205"/>
                <a:gd name="T19" fmla="*/ 267 h 368"/>
                <a:gd name="T20" fmla="*/ 133 w 205"/>
                <a:gd name="T21" fmla="*/ 254 h 368"/>
                <a:gd name="T22" fmla="*/ 154 w 205"/>
                <a:gd name="T23" fmla="*/ 229 h 368"/>
                <a:gd name="T24" fmla="*/ 154 w 205"/>
                <a:gd name="T25" fmla="*/ 262 h 368"/>
                <a:gd name="T26" fmla="*/ 139 w 205"/>
                <a:gd name="T27" fmla="*/ 308 h 368"/>
                <a:gd name="T28" fmla="*/ 93 w 205"/>
                <a:gd name="T29" fmla="*/ 324 h 368"/>
                <a:gd name="T30" fmla="*/ 64 w 205"/>
                <a:gd name="T31" fmla="*/ 316 h 368"/>
                <a:gd name="T32" fmla="*/ 41 w 205"/>
                <a:gd name="T33" fmla="*/ 295 h 368"/>
                <a:gd name="T34" fmla="*/ 6 w 205"/>
                <a:gd name="T35" fmla="*/ 326 h 368"/>
                <a:gd name="T36" fmla="*/ 42 w 205"/>
                <a:gd name="T37" fmla="*/ 357 h 368"/>
                <a:gd name="T38" fmla="*/ 65 w 205"/>
                <a:gd name="T39" fmla="*/ 368 h 368"/>
                <a:gd name="T40" fmla="*/ 94 w 205"/>
                <a:gd name="T41" fmla="*/ 368 h 368"/>
                <a:gd name="T42" fmla="*/ 154 w 205"/>
                <a:gd name="T43" fmla="*/ 354 h 368"/>
                <a:gd name="T44" fmla="*/ 192 w 205"/>
                <a:gd name="T45" fmla="*/ 316 h 368"/>
                <a:gd name="T46" fmla="*/ 205 w 205"/>
                <a:gd name="T47" fmla="*/ 255 h 368"/>
                <a:gd name="T48" fmla="*/ 205 w 205"/>
                <a:gd name="T49" fmla="*/ 4 h 368"/>
                <a:gd name="T50" fmla="*/ 154 w 205"/>
                <a:gd name="T51" fmla="*/ 4 h 368"/>
                <a:gd name="T52" fmla="*/ 154 w 205"/>
                <a:gd name="T53" fmla="*/ 37 h 368"/>
                <a:gd name="T54" fmla="*/ 154 w 205"/>
                <a:gd name="T55" fmla="*/ 167 h 368"/>
                <a:gd name="T56" fmla="*/ 149 w 205"/>
                <a:gd name="T57" fmla="*/ 196 h 368"/>
                <a:gd name="T58" fmla="*/ 131 w 205"/>
                <a:gd name="T59" fmla="*/ 214 h 368"/>
                <a:gd name="T60" fmla="*/ 104 w 205"/>
                <a:gd name="T61" fmla="*/ 221 h 368"/>
                <a:gd name="T62" fmla="*/ 65 w 205"/>
                <a:gd name="T63" fmla="*/ 205 h 368"/>
                <a:gd name="T64" fmla="*/ 51 w 205"/>
                <a:gd name="T65" fmla="*/ 162 h 368"/>
                <a:gd name="T66" fmla="*/ 51 w 205"/>
                <a:gd name="T67" fmla="*/ 106 h 368"/>
                <a:gd name="T68" fmla="*/ 65 w 205"/>
                <a:gd name="T69" fmla="*/ 62 h 368"/>
                <a:gd name="T70" fmla="*/ 104 w 205"/>
                <a:gd name="T71" fmla="*/ 46 h 368"/>
                <a:gd name="T72" fmla="*/ 131 w 205"/>
                <a:gd name="T73" fmla="*/ 52 h 368"/>
                <a:gd name="T74" fmla="*/ 149 w 205"/>
                <a:gd name="T75" fmla="*/ 70 h 368"/>
                <a:gd name="T76" fmla="*/ 154 w 205"/>
                <a:gd name="T77" fmla="*/ 98 h 368"/>
                <a:gd name="T78" fmla="*/ 154 w 205"/>
                <a:gd name="T79" fmla="*/ 167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5" h="368">
                  <a:moveTo>
                    <a:pt x="154" y="37"/>
                  </a:moveTo>
                  <a:cubicBezTo>
                    <a:pt x="147" y="26"/>
                    <a:pt x="139" y="18"/>
                    <a:pt x="129" y="12"/>
                  </a:cubicBezTo>
                  <a:cubicBezTo>
                    <a:pt x="116" y="4"/>
                    <a:pt x="102" y="0"/>
                    <a:pt x="87" y="0"/>
                  </a:cubicBezTo>
                  <a:cubicBezTo>
                    <a:pt x="69" y="0"/>
                    <a:pt x="53" y="4"/>
                    <a:pt x="40" y="12"/>
                  </a:cubicBezTo>
                  <a:cubicBezTo>
                    <a:pt x="27" y="20"/>
                    <a:pt x="17" y="32"/>
                    <a:pt x="10" y="48"/>
                  </a:cubicBezTo>
                  <a:cubicBezTo>
                    <a:pt x="3" y="64"/>
                    <a:pt x="0" y="83"/>
                    <a:pt x="0" y="105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84"/>
                    <a:pt x="4" y="203"/>
                    <a:pt x="11" y="219"/>
                  </a:cubicBezTo>
                  <a:cubicBezTo>
                    <a:pt x="18" y="235"/>
                    <a:pt x="28" y="247"/>
                    <a:pt x="41" y="255"/>
                  </a:cubicBezTo>
                  <a:cubicBezTo>
                    <a:pt x="54" y="263"/>
                    <a:pt x="71" y="267"/>
                    <a:pt x="89" y="267"/>
                  </a:cubicBezTo>
                  <a:cubicBezTo>
                    <a:pt x="107" y="267"/>
                    <a:pt x="121" y="263"/>
                    <a:pt x="133" y="254"/>
                  </a:cubicBezTo>
                  <a:cubicBezTo>
                    <a:pt x="142" y="247"/>
                    <a:pt x="149" y="239"/>
                    <a:pt x="154" y="229"/>
                  </a:cubicBezTo>
                  <a:cubicBezTo>
                    <a:pt x="154" y="262"/>
                    <a:pt x="154" y="262"/>
                    <a:pt x="154" y="262"/>
                  </a:cubicBezTo>
                  <a:cubicBezTo>
                    <a:pt x="154" y="282"/>
                    <a:pt x="149" y="297"/>
                    <a:pt x="139" y="308"/>
                  </a:cubicBezTo>
                  <a:cubicBezTo>
                    <a:pt x="128" y="318"/>
                    <a:pt x="113" y="324"/>
                    <a:pt x="93" y="324"/>
                  </a:cubicBezTo>
                  <a:cubicBezTo>
                    <a:pt x="83" y="324"/>
                    <a:pt x="74" y="321"/>
                    <a:pt x="64" y="316"/>
                  </a:cubicBezTo>
                  <a:cubicBezTo>
                    <a:pt x="55" y="311"/>
                    <a:pt x="47" y="304"/>
                    <a:pt x="41" y="295"/>
                  </a:cubicBezTo>
                  <a:cubicBezTo>
                    <a:pt x="6" y="326"/>
                    <a:pt x="6" y="326"/>
                    <a:pt x="6" y="326"/>
                  </a:cubicBezTo>
                  <a:cubicBezTo>
                    <a:pt x="15" y="339"/>
                    <a:pt x="27" y="350"/>
                    <a:pt x="42" y="357"/>
                  </a:cubicBezTo>
                  <a:cubicBezTo>
                    <a:pt x="57" y="364"/>
                    <a:pt x="65" y="368"/>
                    <a:pt x="65" y="368"/>
                  </a:cubicBezTo>
                  <a:cubicBezTo>
                    <a:pt x="65" y="368"/>
                    <a:pt x="75" y="368"/>
                    <a:pt x="94" y="368"/>
                  </a:cubicBezTo>
                  <a:cubicBezTo>
                    <a:pt x="118" y="368"/>
                    <a:pt x="138" y="363"/>
                    <a:pt x="154" y="354"/>
                  </a:cubicBezTo>
                  <a:cubicBezTo>
                    <a:pt x="171" y="346"/>
                    <a:pt x="183" y="333"/>
                    <a:pt x="192" y="316"/>
                  </a:cubicBezTo>
                  <a:cubicBezTo>
                    <a:pt x="201" y="299"/>
                    <a:pt x="205" y="279"/>
                    <a:pt x="205" y="255"/>
                  </a:cubicBezTo>
                  <a:cubicBezTo>
                    <a:pt x="205" y="4"/>
                    <a:pt x="205" y="4"/>
                    <a:pt x="205" y="4"/>
                  </a:cubicBezTo>
                  <a:cubicBezTo>
                    <a:pt x="154" y="4"/>
                    <a:pt x="154" y="4"/>
                    <a:pt x="154" y="4"/>
                  </a:cubicBezTo>
                  <a:lnTo>
                    <a:pt x="154" y="37"/>
                  </a:lnTo>
                  <a:close/>
                  <a:moveTo>
                    <a:pt x="154" y="167"/>
                  </a:moveTo>
                  <a:cubicBezTo>
                    <a:pt x="154" y="179"/>
                    <a:pt x="152" y="188"/>
                    <a:pt x="149" y="196"/>
                  </a:cubicBezTo>
                  <a:cubicBezTo>
                    <a:pt x="145" y="204"/>
                    <a:pt x="139" y="210"/>
                    <a:pt x="131" y="214"/>
                  </a:cubicBezTo>
                  <a:cubicBezTo>
                    <a:pt x="124" y="219"/>
                    <a:pt x="114" y="221"/>
                    <a:pt x="104" y="221"/>
                  </a:cubicBezTo>
                  <a:cubicBezTo>
                    <a:pt x="87" y="221"/>
                    <a:pt x="74" y="216"/>
                    <a:pt x="65" y="205"/>
                  </a:cubicBezTo>
                  <a:cubicBezTo>
                    <a:pt x="55" y="195"/>
                    <a:pt x="51" y="181"/>
                    <a:pt x="51" y="162"/>
                  </a:cubicBezTo>
                  <a:cubicBezTo>
                    <a:pt x="51" y="106"/>
                    <a:pt x="51" y="106"/>
                    <a:pt x="51" y="106"/>
                  </a:cubicBezTo>
                  <a:cubicBezTo>
                    <a:pt x="51" y="87"/>
                    <a:pt x="55" y="72"/>
                    <a:pt x="65" y="62"/>
                  </a:cubicBezTo>
                  <a:cubicBezTo>
                    <a:pt x="74" y="51"/>
                    <a:pt x="87" y="46"/>
                    <a:pt x="104" y="46"/>
                  </a:cubicBezTo>
                  <a:cubicBezTo>
                    <a:pt x="114" y="46"/>
                    <a:pt x="124" y="48"/>
                    <a:pt x="131" y="52"/>
                  </a:cubicBezTo>
                  <a:cubicBezTo>
                    <a:pt x="139" y="56"/>
                    <a:pt x="145" y="62"/>
                    <a:pt x="149" y="70"/>
                  </a:cubicBezTo>
                  <a:cubicBezTo>
                    <a:pt x="152" y="78"/>
                    <a:pt x="154" y="87"/>
                    <a:pt x="154" y="98"/>
                  </a:cubicBezTo>
                  <a:lnTo>
                    <a:pt x="154" y="1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46" name="Freeform 13"/>
            <p:cNvSpPr>
              <a:spLocks noEditPoints="1"/>
            </p:cNvSpPr>
            <p:nvPr/>
          </p:nvSpPr>
          <p:spPr bwMode="auto">
            <a:xfrm>
              <a:off x="5378" y="1375"/>
              <a:ext cx="382" cy="484"/>
            </a:xfrm>
            <a:custGeom>
              <a:avLst/>
              <a:gdLst>
                <a:gd name="T0" fmla="*/ 211 w 211"/>
                <a:gd name="T1" fmla="*/ 137 h 266"/>
                <a:gd name="T2" fmla="*/ 199 w 211"/>
                <a:gd name="T3" fmla="*/ 63 h 266"/>
                <a:gd name="T4" fmla="*/ 164 w 211"/>
                <a:gd name="T5" fmla="*/ 17 h 266"/>
                <a:gd name="T6" fmla="*/ 109 w 211"/>
                <a:gd name="T7" fmla="*/ 0 h 266"/>
                <a:gd name="T8" fmla="*/ 50 w 211"/>
                <a:gd name="T9" fmla="*/ 15 h 266"/>
                <a:gd name="T10" fmla="*/ 13 w 211"/>
                <a:gd name="T11" fmla="*/ 56 h 266"/>
                <a:gd name="T12" fmla="*/ 0 w 211"/>
                <a:gd name="T13" fmla="*/ 121 h 266"/>
                <a:gd name="T14" fmla="*/ 0 w 211"/>
                <a:gd name="T15" fmla="*/ 151 h 266"/>
                <a:gd name="T16" fmla="*/ 13 w 211"/>
                <a:gd name="T17" fmla="*/ 213 h 266"/>
                <a:gd name="T18" fmla="*/ 52 w 211"/>
                <a:gd name="T19" fmla="*/ 253 h 266"/>
                <a:gd name="T20" fmla="*/ 77 w 211"/>
                <a:gd name="T21" fmla="*/ 266 h 266"/>
                <a:gd name="T22" fmla="*/ 113 w 211"/>
                <a:gd name="T23" fmla="*/ 266 h 266"/>
                <a:gd name="T24" fmla="*/ 161 w 211"/>
                <a:gd name="T25" fmla="*/ 256 h 266"/>
                <a:gd name="T26" fmla="*/ 204 w 211"/>
                <a:gd name="T27" fmla="*/ 228 h 266"/>
                <a:gd name="T28" fmla="*/ 171 w 211"/>
                <a:gd name="T29" fmla="*/ 194 h 266"/>
                <a:gd name="T30" fmla="*/ 144 w 211"/>
                <a:gd name="T31" fmla="*/ 212 h 266"/>
                <a:gd name="T32" fmla="*/ 113 w 211"/>
                <a:gd name="T33" fmla="*/ 218 h 266"/>
                <a:gd name="T34" fmla="*/ 65 w 211"/>
                <a:gd name="T35" fmla="*/ 201 h 266"/>
                <a:gd name="T36" fmla="*/ 48 w 211"/>
                <a:gd name="T37" fmla="*/ 154 h 266"/>
                <a:gd name="T38" fmla="*/ 211 w 211"/>
                <a:gd name="T39" fmla="*/ 154 h 266"/>
                <a:gd name="T40" fmla="*/ 211 w 211"/>
                <a:gd name="T41" fmla="*/ 137 h 266"/>
                <a:gd name="T42" fmla="*/ 48 w 211"/>
                <a:gd name="T43" fmla="*/ 113 h 266"/>
                <a:gd name="T44" fmla="*/ 64 w 211"/>
                <a:gd name="T45" fmla="*/ 65 h 266"/>
                <a:gd name="T46" fmla="*/ 109 w 211"/>
                <a:gd name="T47" fmla="*/ 46 h 266"/>
                <a:gd name="T48" fmla="*/ 146 w 211"/>
                <a:gd name="T49" fmla="*/ 64 h 266"/>
                <a:gd name="T50" fmla="*/ 163 w 211"/>
                <a:gd name="T51" fmla="*/ 113 h 266"/>
                <a:gd name="T52" fmla="*/ 48 w 211"/>
                <a:gd name="T53" fmla="*/ 113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11" h="266">
                  <a:moveTo>
                    <a:pt x="211" y="137"/>
                  </a:moveTo>
                  <a:cubicBezTo>
                    <a:pt x="211" y="108"/>
                    <a:pt x="207" y="84"/>
                    <a:pt x="199" y="63"/>
                  </a:cubicBezTo>
                  <a:cubicBezTo>
                    <a:pt x="191" y="43"/>
                    <a:pt x="179" y="27"/>
                    <a:pt x="164" y="17"/>
                  </a:cubicBezTo>
                  <a:cubicBezTo>
                    <a:pt x="149" y="6"/>
                    <a:pt x="130" y="0"/>
                    <a:pt x="109" y="0"/>
                  </a:cubicBezTo>
                  <a:cubicBezTo>
                    <a:pt x="86" y="0"/>
                    <a:pt x="66" y="5"/>
                    <a:pt x="50" y="15"/>
                  </a:cubicBezTo>
                  <a:cubicBezTo>
                    <a:pt x="34" y="24"/>
                    <a:pt x="21" y="38"/>
                    <a:pt x="13" y="56"/>
                  </a:cubicBezTo>
                  <a:cubicBezTo>
                    <a:pt x="4" y="74"/>
                    <a:pt x="0" y="96"/>
                    <a:pt x="0" y="12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75"/>
                    <a:pt x="4" y="196"/>
                    <a:pt x="13" y="213"/>
                  </a:cubicBezTo>
                  <a:cubicBezTo>
                    <a:pt x="22" y="231"/>
                    <a:pt x="35" y="244"/>
                    <a:pt x="52" y="253"/>
                  </a:cubicBezTo>
                  <a:cubicBezTo>
                    <a:pt x="69" y="262"/>
                    <a:pt x="77" y="266"/>
                    <a:pt x="77" y="266"/>
                  </a:cubicBezTo>
                  <a:cubicBezTo>
                    <a:pt x="77" y="266"/>
                    <a:pt x="89" y="266"/>
                    <a:pt x="113" y="266"/>
                  </a:cubicBezTo>
                  <a:cubicBezTo>
                    <a:pt x="129" y="266"/>
                    <a:pt x="145" y="263"/>
                    <a:pt x="161" y="256"/>
                  </a:cubicBezTo>
                  <a:cubicBezTo>
                    <a:pt x="177" y="250"/>
                    <a:pt x="191" y="240"/>
                    <a:pt x="204" y="228"/>
                  </a:cubicBezTo>
                  <a:cubicBezTo>
                    <a:pt x="171" y="194"/>
                    <a:pt x="171" y="194"/>
                    <a:pt x="171" y="194"/>
                  </a:cubicBezTo>
                  <a:cubicBezTo>
                    <a:pt x="163" y="202"/>
                    <a:pt x="154" y="208"/>
                    <a:pt x="144" y="212"/>
                  </a:cubicBezTo>
                  <a:cubicBezTo>
                    <a:pt x="134" y="216"/>
                    <a:pt x="123" y="218"/>
                    <a:pt x="113" y="218"/>
                  </a:cubicBezTo>
                  <a:cubicBezTo>
                    <a:pt x="92" y="218"/>
                    <a:pt x="76" y="212"/>
                    <a:pt x="65" y="201"/>
                  </a:cubicBezTo>
                  <a:cubicBezTo>
                    <a:pt x="54" y="190"/>
                    <a:pt x="49" y="174"/>
                    <a:pt x="48" y="154"/>
                  </a:cubicBezTo>
                  <a:cubicBezTo>
                    <a:pt x="211" y="154"/>
                    <a:pt x="211" y="154"/>
                    <a:pt x="211" y="154"/>
                  </a:cubicBezTo>
                  <a:lnTo>
                    <a:pt x="211" y="137"/>
                  </a:lnTo>
                  <a:close/>
                  <a:moveTo>
                    <a:pt x="48" y="113"/>
                  </a:moveTo>
                  <a:cubicBezTo>
                    <a:pt x="49" y="93"/>
                    <a:pt x="54" y="77"/>
                    <a:pt x="64" y="65"/>
                  </a:cubicBezTo>
                  <a:cubicBezTo>
                    <a:pt x="74" y="52"/>
                    <a:pt x="89" y="46"/>
                    <a:pt x="109" y="46"/>
                  </a:cubicBezTo>
                  <a:cubicBezTo>
                    <a:pt x="124" y="46"/>
                    <a:pt x="137" y="52"/>
                    <a:pt x="146" y="64"/>
                  </a:cubicBezTo>
                  <a:cubicBezTo>
                    <a:pt x="156" y="75"/>
                    <a:pt x="161" y="92"/>
                    <a:pt x="163" y="113"/>
                  </a:cubicBezTo>
                  <a:lnTo>
                    <a:pt x="4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</p:grpSp>
    </p:spTree>
    <p:extLst>
      <p:ext uri="{BB962C8B-B14F-4D97-AF65-F5344CB8AC3E}">
        <p14:creationId xmlns:p14="http://schemas.microsoft.com/office/powerpoint/2010/main" val="66781021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表紙：LA5_16_9_Onscreen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sp>
        <p:nvSpPr>
          <p:cNvPr id="25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pic>
        <p:nvPicPr>
          <p:cNvPr id="26" name="図 2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9277" y="5527551"/>
            <a:ext cx="2022302" cy="516581"/>
          </a:xfrm>
          <a:prstGeom prst="rect">
            <a:avLst/>
          </a:prstGeom>
        </p:spPr>
      </p:pic>
      <p:sp>
        <p:nvSpPr>
          <p:cNvPr id="27" name="表紙サブタイトル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4420" y="3898245"/>
            <a:ext cx="4596587" cy="28803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33">
                <a:solidFill>
                  <a:schemeClr val="tx1"/>
                </a:solidFill>
              </a:defRPr>
            </a:lvl1pPr>
            <a:lvl2pPr marL="402393" indent="0" algn="ctr">
              <a:buNone/>
              <a:defRPr sz="1760"/>
            </a:lvl2pPr>
            <a:lvl3pPr marL="804784" indent="0" algn="ctr">
              <a:buNone/>
              <a:defRPr sz="1585"/>
            </a:lvl3pPr>
            <a:lvl4pPr marL="1207176" indent="0" algn="ctr">
              <a:buNone/>
              <a:defRPr sz="1408"/>
            </a:lvl4pPr>
            <a:lvl5pPr marL="1609567" indent="0" algn="ctr">
              <a:buNone/>
              <a:defRPr sz="1408"/>
            </a:lvl5pPr>
            <a:lvl6pPr marL="2011960" indent="0" algn="ctr">
              <a:buNone/>
              <a:defRPr sz="1408"/>
            </a:lvl6pPr>
            <a:lvl7pPr marL="2414352" indent="0" algn="ctr">
              <a:buNone/>
              <a:defRPr sz="1408"/>
            </a:lvl7pPr>
            <a:lvl8pPr marL="2816744" indent="0" algn="ctr">
              <a:buNone/>
              <a:defRPr sz="1408"/>
            </a:lvl8pPr>
            <a:lvl9pPr marL="3219133" indent="0" algn="ctr">
              <a:buNone/>
              <a:defRPr sz="1408"/>
            </a:lvl9pPr>
          </a:lstStyle>
          <a:p>
            <a:r>
              <a:rPr lang="ja-JP" altLang="en-US" noProof="0" dirty="0"/>
              <a:t>表紙</a:t>
            </a:r>
            <a:r>
              <a:rPr lang="ja-JP" altLang="en-US" noProof="0" dirty="0" smtClean="0"/>
              <a:t>サブタイトル（任意）／</a:t>
            </a:r>
            <a:r>
              <a:rPr lang="en-US" altLang="ja-JP" noProof="0" dirty="0" smtClean="0"/>
              <a:t>16pt</a:t>
            </a:r>
          </a:p>
        </p:txBody>
      </p:sp>
      <p:sp>
        <p:nvSpPr>
          <p:cNvPr id="28" name="表紙タイトル"/>
          <p:cNvSpPr>
            <a:spLocks noGrp="1"/>
          </p:cNvSpPr>
          <p:nvPr>
            <p:ph type="ctrTitle" hasCustomPrompt="1"/>
          </p:nvPr>
        </p:nvSpPr>
        <p:spPr bwMode="gray">
          <a:xfrm>
            <a:off x="434422" y="4234245"/>
            <a:ext cx="8028968" cy="1114968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17" b="1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 smtClean="0"/>
              <a:t>表紙タイトル／</a:t>
            </a:r>
            <a:r>
              <a:rPr lang="en-US" altLang="ja-JP" noProof="0" dirty="0" smtClean="0"/>
              <a:t>26pt </a:t>
            </a:r>
            <a:r>
              <a:rPr lang="ja-JP" altLang="en-US" noProof="0" dirty="0" smtClean="0"/>
              <a:t>太字</a:t>
            </a:r>
            <a:r>
              <a:rPr lang="en-US" altLang="ja-JP" noProof="0" dirty="0" smtClean="0"/>
              <a:t/>
            </a:r>
            <a:br>
              <a:rPr lang="en-US" altLang="ja-JP" noProof="0" dirty="0" smtClean="0"/>
            </a:br>
            <a:r>
              <a:rPr lang="ja-JP" altLang="en-US" noProof="0" dirty="0" smtClean="0"/>
              <a:t>表紙タイトル／</a:t>
            </a:r>
            <a:r>
              <a:rPr lang="en-US" altLang="ja-JP" noProof="0" dirty="0" smtClean="0"/>
              <a:t>26pt </a:t>
            </a:r>
            <a:r>
              <a:rPr lang="ja-JP" altLang="en-US" noProof="0" dirty="0" smtClean="0"/>
              <a:t>太字</a:t>
            </a:r>
            <a:endParaRPr lang="en-US" noProof="0" dirty="0"/>
          </a:p>
        </p:txBody>
      </p:sp>
      <p:sp>
        <p:nvSpPr>
          <p:cNvPr id="29" name="バージョン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49277" y="6222469"/>
            <a:ext cx="2022302" cy="206096"/>
          </a:xfrm>
          <a:prstGeom prst="rect">
            <a:avLst/>
          </a:prstGeom>
        </p:spPr>
        <p:txBody>
          <a:bodyPr wrap="square" lIns="36000" tIns="36000" rIns="36000" bIns="3600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67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 err="1" smtClean="0"/>
              <a:t>Ver.XXX</a:t>
            </a:r>
            <a:endParaRPr lang="ja-JP" altLang="en-US" dirty="0"/>
          </a:p>
        </p:txBody>
      </p:sp>
      <p:pic>
        <p:nvPicPr>
          <p:cNvPr id="30" name="図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64" y="548677"/>
            <a:ext cx="9034272" cy="3096768"/>
          </a:xfrm>
          <a:prstGeom prst="rect">
            <a:avLst/>
          </a:prstGeom>
        </p:spPr>
      </p:pic>
      <p:grpSp>
        <p:nvGrpSpPr>
          <p:cNvPr id="32" name="グループ化 31"/>
          <p:cNvGrpSpPr/>
          <p:nvPr/>
        </p:nvGrpSpPr>
        <p:grpSpPr>
          <a:xfrm>
            <a:off x="964177" y="2681164"/>
            <a:ext cx="1501146" cy="179107"/>
            <a:chOff x="182687" y="-611245"/>
            <a:chExt cx="9137651" cy="885825"/>
          </a:xfrm>
        </p:grpSpPr>
        <p:sp>
          <p:nvSpPr>
            <p:cNvPr id="33" name="Freeform 14"/>
            <p:cNvSpPr>
              <a:spLocks noEditPoints="1"/>
            </p:cNvSpPr>
            <p:nvPr/>
          </p:nvSpPr>
          <p:spPr bwMode="auto">
            <a:xfrm>
              <a:off x="5662737" y="-417570"/>
              <a:ext cx="384175" cy="692150"/>
            </a:xfrm>
            <a:custGeom>
              <a:avLst/>
              <a:gdLst>
                <a:gd name="T0" fmla="*/ 117 w 155"/>
                <a:gd name="T1" fmla="*/ 29 h 277"/>
                <a:gd name="T2" fmla="*/ 97 w 155"/>
                <a:gd name="T3" fmla="*/ 9 h 277"/>
                <a:gd name="T4" fmla="*/ 66 w 155"/>
                <a:gd name="T5" fmla="*/ 0 h 277"/>
                <a:gd name="T6" fmla="*/ 30 w 155"/>
                <a:gd name="T7" fmla="*/ 9 h 277"/>
                <a:gd name="T8" fmla="*/ 8 w 155"/>
                <a:gd name="T9" fmla="*/ 36 h 277"/>
                <a:gd name="T10" fmla="*/ 0 w 155"/>
                <a:gd name="T11" fmla="*/ 79 h 277"/>
                <a:gd name="T12" fmla="*/ 0 w 155"/>
                <a:gd name="T13" fmla="*/ 122 h 277"/>
                <a:gd name="T14" fmla="*/ 8 w 155"/>
                <a:gd name="T15" fmla="*/ 165 h 277"/>
                <a:gd name="T16" fmla="*/ 31 w 155"/>
                <a:gd name="T17" fmla="*/ 192 h 277"/>
                <a:gd name="T18" fmla="*/ 68 w 155"/>
                <a:gd name="T19" fmla="*/ 201 h 277"/>
                <a:gd name="T20" fmla="*/ 100 w 155"/>
                <a:gd name="T21" fmla="*/ 192 h 277"/>
                <a:gd name="T22" fmla="*/ 117 w 155"/>
                <a:gd name="T23" fmla="*/ 172 h 277"/>
                <a:gd name="T24" fmla="*/ 117 w 155"/>
                <a:gd name="T25" fmla="*/ 198 h 277"/>
                <a:gd name="T26" fmla="*/ 105 w 155"/>
                <a:gd name="T27" fmla="*/ 232 h 277"/>
                <a:gd name="T28" fmla="*/ 71 w 155"/>
                <a:gd name="T29" fmla="*/ 244 h 277"/>
                <a:gd name="T30" fmla="*/ 49 w 155"/>
                <a:gd name="T31" fmla="*/ 239 h 277"/>
                <a:gd name="T32" fmla="*/ 31 w 155"/>
                <a:gd name="T33" fmla="*/ 223 h 277"/>
                <a:gd name="T34" fmla="*/ 5 w 155"/>
                <a:gd name="T35" fmla="*/ 246 h 277"/>
                <a:gd name="T36" fmla="*/ 32 w 155"/>
                <a:gd name="T37" fmla="*/ 269 h 277"/>
                <a:gd name="T38" fmla="*/ 49 w 155"/>
                <a:gd name="T39" fmla="*/ 277 h 277"/>
                <a:gd name="T40" fmla="*/ 71 w 155"/>
                <a:gd name="T41" fmla="*/ 277 h 277"/>
                <a:gd name="T42" fmla="*/ 117 w 155"/>
                <a:gd name="T43" fmla="*/ 267 h 277"/>
                <a:gd name="T44" fmla="*/ 145 w 155"/>
                <a:gd name="T45" fmla="*/ 238 h 277"/>
                <a:gd name="T46" fmla="*/ 155 w 155"/>
                <a:gd name="T47" fmla="*/ 192 h 277"/>
                <a:gd name="T48" fmla="*/ 155 w 155"/>
                <a:gd name="T49" fmla="*/ 3 h 277"/>
                <a:gd name="T50" fmla="*/ 117 w 155"/>
                <a:gd name="T51" fmla="*/ 3 h 277"/>
                <a:gd name="T52" fmla="*/ 117 w 155"/>
                <a:gd name="T53" fmla="*/ 29 h 277"/>
                <a:gd name="T54" fmla="*/ 112 w 155"/>
                <a:gd name="T55" fmla="*/ 148 h 277"/>
                <a:gd name="T56" fmla="*/ 99 w 155"/>
                <a:gd name="T57" fmla="*/ 162 h 277"/>
                <a:gd name="T58" fmla="*/ 78 w 155"/>
                <a:gd name="T59" fmla="*/ 167 h 277"/>
                <a:gd name="T60" fmla="*/ 49 w 155"/>
                <a:gd name="T61" fmla="*/ 155 h 277"/>
                <a:gd name="T62" fmla="*/ 39 w 155"/>
                <a:gd name="T63" fmla="*/ 122 h 277"/>
                <a:gd name="T64" fmla="*/ 39 w 155"/>
                <a:gd name="T65" fmla="*/ 80 h 277"/>
                <a:gd name="T66" fmla="*/ 49 w 155"/>
                <a:gd name="T67" fmla="*/ 47 h 277"/>
                <a:gd name="T68" fmla="*/ 78 w 155"/>
                <a:gd name="T69" fmla="*/ 35 h 277"/>
                <a:gd name="T70" fmla="*/ 99 w 155"/>
                <a:gd name="T71" fmla="*/ 39 h 277"/>
                <a:gd name="T72" fmla="*/ 112 w 155"/>
                <a:gd name="T73" fmla="*/ 53 h 277"/>
                <a:gd name="T74" fmla="*/ 117 w 155"/>
                <a:gd name="T75" fmla="*/ 74 h 277"/>
                <a:gd name="T76" fmla="*/ 117 w 155"/>
                <a:gd name="T77" fmla="*/ 126 h 277"/>
                <a:gd name="T78" fmla="*/ 112 w 155"/>
                <a:gd name="T79" fmla="*/ 148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5" h="277">
                  <a:moveTo>
                    <a:pt x="117" y="29"/>
                  </a:moveTo>
                  <a:cubicBezTo>
                    <a:pt x="111" y="21"/>
                    <a:pt x="105" y="14"/>
                    <a:pt x="97" y="9"/>
                  </a:cubicBezTo>
                  <a:cubicBezTo>
                    <a:pt x="88" y="3"/>
                    <a:pt x="77" y="0"/>
                    <a:pt x="66" y="0"/>
                  </a:cubicBezTo>
                  <a:cubicBezTo>
                    <a:pt x="52" y="0"/>
                    <a:pt x="40" y="3"/>
                    <a:pt x="30" y="9"/>
                  </a:cubicBezTo>
                  <a:cubicBezTo>
                    <a:pt x="21" y="15"/>
                    <a:pt x="13" y="24"/>
                    <a:pt x="8" y="36"/>
                  </a:cubicBezTo>
                  <a:cubicBezTo>
                    <a:pt x="3" y="48"/>
                    <a:pt x="0" y="62"/>
                    <a:pt x="0" y="79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39"/>
                    <a:pt x="3" y="153"/>
                    <a:pt x="8" y="165"/>
                  </a:cubicBezTo>
                  <a:cubicBezTo>
                    <a:pt x="13" y="177"/>
                    <a:pt x="21" y="186"/>
                    <a:pt x="31" y="192"/>
                  </a:cubicBezTo>
                  <a:cubicBezTo>
                    <a:pt x="41" y="198"/>
                    <a:pt x="53" y="201"/>
                    <a:pt x="68" y="201"/>
                  </a:cubicBezTo>
                  <a:cubicBezTo>
                    <a:pt x="81" y="201"/>
                    <a:pt x="91" y="198"/>
                    <a:pt x="100" y="192"/>
                  </a:cubicBezTo>
                  <a:cubicBezTo>
                    <a:pt x="108" y="186"/>
                    <a:pt x="113" y="180"/>
                    <a:pt x="117" y="172"/>
                  </a:cubicBezTo>
                  <a:cubicBezTo>
                    <a:pt x="117" y="198"/>
                    <a:pt x="117" y="198"/>
                    <a:pt x="117" y="198"/>
                  </a:cubicBezTo>
                  <a:cubicBezTo>
                    <a:pt x="117" y="213"/>
                    <a:pt x="113" y="224"/>
                    <a:pt x="105" y="232"/>
                  </a:cubicBezTo>
                  <a:cubicBezTo>
                    <a:pt x="97" y="240"/>
                    <a:pt x="85" y="244"/>
                    <a:pt x="71" y="244"/>
                  </a:cubicBezTo>
                  <a:cubicBezTo>
                    <a:pt x="63" y="244"/>
                    <a:pt x="56" y="242"/>
                    <a:pt x="49" y="239"/>
                  </a:cubicBezTo>
                  <a:cubicBezTo>
                    <a:pt x="42" y="235"/>
                    <a:pt x="36" y="230"/>
                    <a:pt x="31" y="223"/>
                  </a:cubicBezTo>
                  <a:cubicBezTo>
                    <a:pt x="5" y="246"/>
                    <a:pt x="5" y="246"/>
                    <a:pt x="5" y="246"/>
                  </a:cubicBezTo>
                  <a:cubicBezTo>
                    <a:pt x="11" y="256"/>
                    <a:pt x="20" y="264"/>
                    <a:pt x="32" y="269"/>
                  </a:cubicBezTo>
                  <a:cubicBezTo>
                    <a:pt x="43" y="275"/>
                    <a:pt x="49" y="277"/>
                    <a:pt x="49" y="277"/>
                  </a:cubicBezTo>
                  <a:cubicBezTo>
                    <a:pt x="49" y="277"/>
                    <a:pt x="57" y="277"/>
                    <a:pt x="71" y="277"/>
                  </a:cubicBezTo>
                  <a:cubicBezTo>
                    <a:pt x="89" y="277"/>
                    <a:pt x="104" y="274"/>
                    <a:pt x="117" y="267"/>
                  </a:cubicBezTo>
                  <a:cubicBezTo>
                    <a:pt x="129" y="261"/>
                    <a:pt x="139" y="251"/>
                    <a:pt x="145" y="238"/>
                  </a:cubicBezTo>
                  <a:cubicBezTo>
                    <a:pt x="152" y="226"/>
                    <a:pt x="155" y="210"/>
                    <a:pt x="155" y="192"/>
                  </a:cubicBezTo>
                  <a:cubicBezTo>
                    <a:pt x="155" y="3"/>
                    <a:pt x="155" y="3"/>
                    <a:pt x="155" y="3"/>
                  </a:cubicBezTo>
                  <a:cubicBezTo>
                    <a:pt x="117" y="3"/>
                    <a:pt x="117" y="3"/>
                    <a:pt x="117" y="3"/>
                  </a:cubicBezTo>
                  <a:lnTo>
                    <a:pt x="117" y="29"/>
                  </a:lnTo>
                  <a:close/>
                  <a:moveTo>
                    <a:pt x="112" y="148"/>
                  </a:moveTo>
                  <a:cubicBezTo>
                    <a:pt x="109" y="154"/>
                    <a:pt x="105" y="159"/>
                    <a:pt x="99" y="162"/>
                  </a:cubicBezTo>
                  <a:cubicBezTo>
                    <a:pt x="93" y="165"/>
                    <a:pt x="87" y="167"/>
                    <a:pt x="78" y="167"/>
                  </a:cubicBezTo>
                  <a:cubicBezTo>
                    <a:pt x="66" y="167"/>
                    <a:pt x="56" y="163"/>
                    <a:pt x="49" y="155"/>
                  </a:cubicBezTo>
                  <a:cubicBezTo>
                    <a:pt x="42" y="147"/>
                    <a:pt x="39" y="136"/>
                    <a:pt x="39" y="122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39" y="66"/>
                    <a:pt x="42" y="54"/>
                    <a:pt x="49" y="47"/>
                  </a:cubicBezTo>
                  <a:cubicBezTo>
                    <a:pt x="56" y="39"/>
                    <a:pt x="66" y="35"/>
                    <a:pt x="78" y="35"/>
                  </a:cubicBezTo>
                  <a:cubicBezTo>
                    <a:pt x="87" y="35"/>
                    <a:pt x="93" y="36"/>
                    <a:pt x="99" y="39"/>
                  </a:cubicBezTo>
                  <a:cubicBezTo>
                    <a:pt x="105" y="42"/>
                    <a:pt x="109" y="47"/>
                    <a:pt x="112" y="53"/>
                  </a:cubicBezTo>
                  <a:cubicBezTo>
                    <a:pt x="115" y="59"/>
                    <a:pt x="117" y="66"/>
                    <a:pt x="117" y="74"/>
                  </a:cubicBezTo>
                  <a:cubicBezTo>
                    <a:pt x="117" y="126"/>
                    <a:pt x="117" y="126"/>
                    <a:pt x="117" y="126"/>
                  </a:cubicBezTo>
                  <a:cubicBezTo>
                    <a:pt x="117" y="135"/>
                    <a:pt x="115" y="142"/>
                    <a:pt x="112" y="148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34" name="Freeform 5"/>
            <p:cNvSpPr>
              <a:spLocks/>
            </p:cNvSpPr>
            <p:nvPr/>
          </p:nvSpPr>
          <p:spPr bwMode="auto">
            <a:xfrm>
              <a:off x="182687" y="-611245"/>
              <a:ext cx="495300" cy="696913"/>
            </a:xfrm>
            <a:custGeom>
              <a:avLst/>
              <a:gdLst>
                <a:gd name="T0" fmla="*/ 161 w 200"/>
                <a:gd name="T1" fmla="*/ 135 h 279"/>
                <a:gd name="T2" fmla="*/ 119 w 200"/>
                <a:gd name="T3" fmla="*/ 123 h 279"/>
                <a:gd name="T4" fmla="*/ 117 w 200"/>
                <a:gd name="T5" fmla="*/ 122 h 279"/>
                <a:gd name="T6" fmla="*/ 115 w 200"/>
                <a:gd name="T7" fmla="*/ 122 h 279"/>
                <a:gd name="T8" fmla="*/ 114 w 200"/>
                <a:gd name="T9" fmla="*/ 122 h 279"/>
                <a:gd name="T10" fmla="*/ 112 w 200"/>
                <a:gd name="T11" fmla="*/ 121 h 279"/>
                <a:gd name="T12" fmla="*/ 79 w 200"/>
                <a:gd name="T13" fmla="*/ 113 h 279"/>
                <a:gd name="T14" fmla="*/ 59 w 200"/>
                <a:gd name="T15" fmla="*/ 101 h 279"/>
                <a:gd name="T16" fmla="*/ 51 w 200"/>
                <a:gd name="T17" fmla="*/ 79 h 279"/>
                <a:gd name="T18" fmla="*/ 51 w 200"/>
                <a:gd name="T19" fmla="*/ 79 h 279"/>
                <a:gd name="T20" fmla="*/ 67 w 200"/>
                <a:gd name="T21" fmla="*/ 47 h 279"/>
                <a:gd name="T22" fmla="*/ 110 w 200"/>
                <a:gd name="T23" fmla="*/ 36 h 279"/>
                <a:gd name="T24" fmla="*/ 141 w 200"/>
                <a:gd name="T25" fmla="*/ 42 h 279"/>
                <a:gd name="T26" fmla="*/ 173 w 200"/>
                <a:gd name="T27" fmla="*/ 59 h 279"/>
                <a:gd name="T28" fmla="*/ 194 w 200"/>
                <a:gd name="T29" fmla="*/ 29 h 279"/>
                <a:gd name="T30" fmla="*/ 167 w 200"/>
                <a:gd name="T31" fmla="*/ 13 h 279"/>
                <a:gd name="T32" fmla="*/ 139 w 200"/>
                <a:gd name="T33" fmla="*/ 3 h 279"/>
                <a:gd name="T34" fmla="*/ 110 w 200"/>
                <a:gd name="T35" fmla="*/ 0 h 279"/>
                <a:gd name="T36" fmla="*/ 58 w 200"/>
                <a:gd name="T37" fmla="*/ 10 h 279"/>
                <a:gd name="T38" fmla="*/ 25 w 200"/>
                <a:gd name="T39" fmla="*/ 37 h 279"/>
                <a:gd name="T40" fmla="*/ 13 w 200"/>
                <a:gd name="T41" fmla="*/ 80 h 279"/>
                <a:gd name="T42" fmla="*/ 13 w 200"/>
                <a:gd name="T43" fmla="*/ 80 h 279"/>
                <a:gd name="T44" fmla="*/ 26 w 200"/>
                <a:gd name="T45" fmla="*/ 125 h 279"/>
                <a:gd name="T46" fmla="*/ 55 w 200"/>
                <a:gd name="T47" fmla="*/ 147 h 279"/>
                <a:gd name="T48" fmla="*/ 100 w 200"/>
                <a:gd name="T49" fmla="*/ 157 h 279"/>
                <a:gd name="T50" fmla="*/ 102 w 200"/>
                <a:gd name="T51" fmla="*/ 158 h 279"/>
                <a:gd name="T52" fmla="*/ 104 w 200"/>
                <a:gd name="T53" fmla="*/ 158 h 279"/>
                <a:gd name="T54" fmla="*/ 105 w 200"/>
                <a:gd name="T55" fmla="*/ 158 h 279"/>
                <a:gd name="T56" fmla="*/ 135 w 200"/>
                <a:gd name="T57" fmla="*/ 166 h 279"/>
                <a:gd name="T58" fmla="*/ 154 w 200"/>
                <a:gd name="T59" fmla="*/ 178 h 279"/>
                <a:gd name="T60" fmla="*/ 162 w 200"/>
                <a:gd name="T61" fmla="*/ 201 h 279"/>
                <a:gd name="T62" fmla="*/ 162 w 200"/>
                <a:gd name="T63" fmla="*/ 201 h 279"/>
                <a:gd name="T64" fmla="*/ 145 w 200"/>
                <a:gd name="T65" fmla="*/ 232 h 279"/>
                <a:gd name="T66" fmla="*/ 99 w 200"/>
                <a:gd name="T67" fmla="*/ 243 h 279"/>
                <a:gd name="T68" fmla="*/ 59 w 200"/>
                <a:gd name="T69" fmla="*/ 236 h 279"/>
                <a:gd name="T70" fmla="*/ 24 w 200"/>
                <a:gd name="T71" fmla="*/ 216 h 279"/>
                <a:gd name="T72" fmla="*/ 0 w 200"/>
                <a:gd name="T73" fmla="*/ 245 h 279"/>
                <a:gd name="T74" fmla="*/ 29 w 200"/>
                <a:gd name="T75" fmla="*/ 264 h 279"/>
                <a:gd name="T76" fmla="*/ 62 w 200"/>
                <a:gd name="T77" fmla="*/ 275 h 279"/>
                <a:gd name="T78" fmla="*/ 80 w 200"/>
                <a:gd name="T79" fmla="*/ 279 h 279"/>
                <a:gd name="T80" fmla="*/ 99 w 200"/>
                <a:gd name="T81" fmla="*/ 279 h 279"/>
                <a:gd name="T82" fmla="*/ 154 w 200"/>
                <a:gd name="T83" fmla="*/ 270 h 279"/>
                <a:gd name="T84" fmla="*/ 188 w 200"/>
                <a:gd name="T85" fmla="*/ 243 h 279"/>
                <a:gd name="T86" fmla="*/ 200 w 200"/>
                <a:gd name="T87" fmla="*/ 200 h 279"/>
                <a:gd name="T88" fmla="*/ 200 w 200"/>
                <a:gd name="T89" fmla="*/ 199 h 279"/>
                <a:gd name="T90" fmla="*/ 189 w 200"/>
                <a:gd name="T91" fmla="*/ 157 h 279"/>
                <a:gd name="T92" fmla="*/ 161 w 200"/>
                <a:gd name="T93" fmla="*/ 13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0" h="279">
                  <a:moveTo>
                    <a:pt x="161" y="135"/>
                  </a:moveTo>
                  <a:cubicBezTo>
                    <a:pt x="150" y="130"/>
                    <a:pt x="136" y="126"/>
                    <a:pt x="119" y="123"/>
                  </a:cubicBezTo>
                  <a:cubicBezTo>
                    <a:pt x="119" y="123"/>
                    <a:pt x="118" y="122"/>
                    <a:pt x="117" y="122"/>
                  </a:cubicBezTo>
                  <a:cubicBezTo>
                    <a:pt x="117" y="122"/>
                    <a:pt x="116" y="122"/>
                    <a:pt x="115" y="122"/>
                  </a:cubicBezTo>
                  <a:cubicBezTo>
                    <a:pt x="115" y="122"/>
                    <a:pt x="114" y="122"/>
                    <a:pt x="114" y="122"/>
                  </a:cubicBezTo>
                  <a:cubicBezTo>
                    <a:pt x="113" y="122"/>
                    <a:pt x="113" y="121"/>
                    <a:pt x="112" y="121"/>
                  </a:cubicBezTo>
                  <a:cubicBezTo>
                    <a:pt x="98" y="119"/>
                    <a:pt x="87" y="116"/>
                    <a:pt x="79" y="113"/>
                  </a:cubicBezTo>
                  <a:cubicBezTo>
                    <a:pt x="71" y="111"/>
                    <a:pt x="65" y="107"/>
                    <a:pt x="59" y="101"/>
                  </a:cubicBezTo>
                  <a:cubicBezTo>
                    <a:pt x="54" y="96"/>
                    <a:pt x="51" y="8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65"/>
                    <a:pt x="57" y="55"/>
                    <a:pt x="67" y="47"/>
                  </a:cubicBezTo>
                  <a:cubicBezTo>
                    <a:pt x="77" y="40"/>
                    <a:pt x="92" y="36"/>
                    <a:pt x="110" y="36"/>
                  </a:cubicBezTo>
                  <a:cubicBezTo>
                    <a:pt x="121" y="36"/>
                    <a:pt x="131" y="38"/>
                    <a:pt x="141" y="42"/>
                  </a:cubicBezTo>
                  <a:cubicBezTo>
                    <a:pt x="152" y="46"/>
                    <a:pt x="162" y="52"/>
                    <a:pt x="173" y="59"/>
                  </a:cubicBezTo>
                  <a:cubicBezTo>
                    <a:pt x="194" y="29"/>
                    <a:pt x="194" y="29"/>
                    <a:pt x="194" y="29"/>
                  </a:cubicBezTo>
                  <a:cubicBezTo>
                    <a:pt x="185" y="22"/>
                    <a:pt x="176" y="17"/>
                    <a:pt x="167" y="13"/>
                  </a:cubicBezTo>
                  <a:cubicBezTo>
                    <a:pt x="158" y="9"/>
                    <a:pt x="149" y="6"/>
                    <a:pt x="139" y="3"/>
                  </a:cubicBezTo>
                  <a:cubicBezTo>
                    <a:pt x="130" y="1"/>
                    <a:pt x="120" y="0"/>
                    <a:pt x="110" y="0"/>
                  </a:cubicBezTo>
                  <a:cubicBezTo>
                    <a:pt x="90" y="0"/>
                    <a:pt x="72" y="3"/>
                    <a:pt x="58" y="10"/>
                  </a:cubicBezTo>
                  <a:cubicBezTo>
                    <a:pt x="43" y="16"/>
                    <a:pt x="32" y="25"/>
                    <a:pt x="25" y="37"/>
                  </a:cubicBezTo>
                  <a:cubicBezTo>
                    <a:pt x="17" y="49"/>
                    <a:pt x="13" y="63"/>
                    <a:pt x="13" y="80"/>
                  </a:cubicBezTo>
                  <a:cubicBezTo>
                    <a:pt x="13" y="80"/>
                    <a:pt x="13" y="80"/>
                    <a:pt x="13" y="80"/>
                  </a:cubicBezTo>
                  <a:cubicBezTo>
                    <a:pt x="13" y="100"/>
                    <a:pt x="18" y="115"/>
                    <a:pt x="26" y="125"/>
                  </a:cubicBezTo>
                  <a:cubicBezTo>
                    <a:pt x="34" y="135"/>
                    <a:pt x="44" y="143"/>
                    <a:pt x="55" y="147"/>
                  </a:cubicBezTo>
                  <a:cubicBezTo>
                    <a:pt x="66" y="151"/>
                    <a:pt x="81" y="154"/>
                    <a:pt x="100" y="157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3" y="158"/>
                    <a:pt x="103" y="158"/>
                    <a:pt x="104" y="158"/>
                  </a:cubicBezTo>
                  <a:cubicBezTo>
                    <a:pt x="104" y="158"/>
                    <a:pt x="105" y="158"/>
                    <a:pt x="105" y="158"/>
                  </a:cubicBezTo>
                  <a:cubicBezTo>
                    <a:pt x="117" y="160"/>
                    <a:pt x="127" y="163"/>
                    <a:pt x="135" y="166"/>
                  </a:cubicBezTo>
                  <a:cubicBezTo>
                    <a:pt x="143" y="168"/>
                    <a:pt x="149" y="172"/>
                    <a:pt x="154" y="178"/>
                  </a:cubicBezTo>
                  <a:cubicBezTo>
                    <a:pt x="159" y="184"/>
                    <a:pt x="162" y="191"/>
                    <a:pt x="162" y="201"/>
                  </a:cubicBezTo>
                  <a:cubicBezTo>
                    <a:pt x="162" y="201"/>
                    <a:pt x="162" y="201"/>
                    <a:pt x="162" y="201"/>
                  </a:cubicBezTo>
                  <a:cubicBezTo>
                    <a:pt x="162" y="214"/>
                    <a:pt x="156" y="225"/>
                    <a:pt x="145" y="232"/>
                  </a:cubicBezTo>
                  <a:cubicBezTo>
                    <a:pt x="135" y="239"/>
                    <a:pt x="119" y="243"/>
                    <a:pt x="99" y="243"/>
                  </a:cubicBezTo>
                  <a:cubicBezTo>
                    <a:pt x="85" y="243"/>
                    <a:pt x="71" y="241"/>
                    <a:pt x="59" y="236"/>
                  </a:cubicBezTo>
                  <a:cubicBezTo>
                    <a:pt x="46" y="232"/>
                    <a:pt x="35" y="225"/>
                    <a:pt x="24" y="216"/>
                  </a:cubicBezTo>
                  <a:cubicBezTo>
                    <a:pt x="0" y="245"/>
                    <a:pt x="0" y="245"/>
                    <a:pt x="0" y="245"/>
                  </a:cubicBezTo>
                  <a:cubicBezTo>
                    <a:pt x="9" y="253"/>
                    <a:pt x="19" y="259"/>
                    <a:pt x="29" y="264"/>
                  </a:cubicBezTo>
                  <a:cubicBezTo>
                    <a:pt x="39" y="269"/>
                    <a:pt x="50" y="273"/>
                    <a:pt x="62" y="275"/>
                  </a:cubicBezTo>
                  <a:cubicBezTo>
                    <a:pt x="74" y="278"/>
                    <a:pt x="80" y="279"/>
                    <a:pt x="80" y="279"/>
                  </a:cubicBezTo>
                  <a:cubicBezTo>
                    <a:pt x="80" y="279"/>
                    <a:pt x="86" y="279"/>
                    <a:pt x="99" y="279"/>
                  </a:cubicBezTo>
                  <a:cubicBezTo>
                    <a:pt x="121" y="279"/>
                    <a:pt x="139" y="276"/>
                    <a:pt x="154" y="270"/>
                  </a:cubicBezTo>
                  <a:cubicBezTo>
                    <a:pt x="169" y="263"/>
                    <a:pt x="180" y="254"/>
                    <a:pt x="188" y="243"/>
                  </a:cubicBezTo>
                  <a:cubicBezTo>
                    <a:pt x="196" y="231"/>
                    <a:pt x="200" y="216"/>
                    <a:pt x="200" y="200"/>
                  </a:cubicBezTo>
                  <a:cubicBezTo>
                    <a:pt x="200" y="199"/>
                    <a:pt x="200" y="199"/>
                    <a:pt x="200" y="199"/>
                  </a:cubicBezTo>
                  <a:cubicBezTo>
                    <a:pt x="200" y="182"/>
                    <a:pt x="196" y="167"/>
                    <a:pt x="189" y="157"/>
                  </a:cubicBezTo>
                  <a:cubicBezTo>
                    <a:pt x="181" y="147"/>
                    <a:pt x="172" y="139"/>
                    <a:pt x="161" y="135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36" name="Freeform 6"/>
            <p:cNvSpPr>
              <a:spLocks noEditPoints="1"/>
            </p:cNvSpPr>
            <p:nvPr/>
          </p:nvSpPr>
          <p:spPr bwMode="auto">
            <a:xfrm>
              <a:off x="905000" y="-417570"/>
              <a:ext cx="393700" cy="503238"/>
            </a:xfrm>
            <a:custGeom>
              <a:avLst/>
              <a:gdLst>
                <a:gd name="T0" fmla="*/ 124 w 159"/>
                <a:gd name="T1" fmla="*/ 13 h 201"/>
                <a:gd name="T2" fmla="*/ 82 w 159"/>
                <a:gd name="T3" fmla="*/ 0 h 201"/>
                <a:gd name="T4" fmla="*/ 38 w 159"/>
                <a:gd name="T5" fmla="*/ 11 h 201"/>
                <a:gd name="T6" fmla="*/ 10 w 159"/>
                <a:gd name="T7" fmla="*/ 42 h 201"/>
                <a:gd name="T8" fmla="*/ 0 w 159"/>
                <a:gd name="T9" fmla="*/ 92 h 201"/>
                <a:gd name="T10" fmla="*/ 0 w 159"/>
                <a:gd name="T11" fmla="*/ 114 h 201"/>
                <a:gd name="T12" fmla="*/ 10 w 159"/>
                <a:gd name="T13" fmla="*/ 161 h 201"/>
                <a:gd name="T14" fmla="*/ 39 w 159"/>
                <a:gd name="T15" fmla="*/ 191 h 201"/>
                <a:gd name="T16" fmla="*/ 58 w 159"/>
                <a:gd name="T17" fmla="*/ 201 h 201"/>
                <a:gd name="T18" fmla="*/ 85 w 159"/>
                <a:gd name="T19" fmla="*/ 201 h 201"/>
                <a:gd name="T20" fmla="*/ 122 w 159"/>
                <a:gd name="T21" fmla="*/ 193 h 201"/>
                <a:gd name="T22" fmla="*/ 154 w 159"/>
                <a:gd name="T23" fmla="*/ 172 h 201"/>
                <a:gd name="T24" fmla="*/ 129 w 159"/>
                <a:gd name="T25" fmla="*/ 147 h 201"/>
                <a:gd name="T26" fmla="*/ 109 w 159"/>
                <a:gd name="T27" fmla="*/ 160 h 201"/>
                <a:gd name="T28" fmla="*/ 85 w 159"/>
                <a:gd name="T29" fmla="*/ 164 h 201"/>
                <a:gd name="T30" fmla="*/ 49 w 159"/>
                <a:gd name="T31" fmla="*/ 152 h 201"/>
                <a:gd name="T32" fmla="*/ 37 w 159"/>
                <a:gd name="T33" fmla="*/ 116 h 201"/>
                <a:gd name="T34" fmla="*/ 159 w 159"/>
                <a:gd name="T35" fmla="*/ 116 h 201"/>
                <a:gd name="T36" fmla="*/ 159 w 159"/>
                <a:gd name="T37" fmla="*/ 103 h 201"/>
                <a:gd name="T38" fmla="*/ 150 w 159"/>
                <a:gd name="T39" fmla="*/ 48 h 201"/>
                <a:gd name="T40" fmla="*/ 124 w 159"/>
                <a:gd name="T41" fmla="*/ 13 h 201"/>
                <a:gd name="T42" fmla="*/ 37 w 159"/>
                <a:gd name="T43" fmla="*/ 85 h 201"/>
                <a:gd name="T44" fmla="*/ 48 w 159"/>
                <a:gd name="T45" fmla="*/ 49 h 201"/>
                <a:gd name="T46" fmla="*/ 82 w 159"/>
                <a:gd name="T47" fmla="*/ 35 h 201"/>
                <a:gd name="T48" fmla="*/ 111 w 159"/>
                <a:gd name="T49" fmla="*/ 48 h 201"/>
                <a:gd name="T50" fmla="*/ 123 w 159"/>
                <a:gd name="T51" fmla="*/ 85 h 201"/>
                <a:gd name="T52" fmla="*/ 37 w 159"/>
                <a:gd name="T53" fmla="*/ 85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9" h="201">
                  <a:moveTo>
                    <a:pt x="124" y="13"/>
                  </a:moveTo>
                  <a:cubicBezTo>
                    <a:pt x="112" y="4"/>
                    <a:pt x="98" y="0"/>
                    <a:pt x="82" y="0"/>
                  </a:cubicBezTo>
                  <a:cubicBezTo>
                    <a:pt x="65" y="0"/>
                    <a:pt x="50" y="4"/>
                    <a:pt x="38" y="11"/>
                  </a:cubicBezTo>
                  <a:cubicBezTo>
                    <a:pt x="25" y="18"/>
                    <a:pt x="16" y="29"/>
                    <a:pt x="10" y="42"/>
                  </a:cubicBezTo>
                  <a:cubicBezTo>
                    <a:pt x="3" y="56"/>
                    <a:pt x="0" y="72"/>
                    <a:pt x="0" y="92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32"/>
                    <a:pt x="3" y="148"/>
                    <a:pt x="10" y="161"/>
                  </a:cubicBezTo>
                  <a:cubicBezTo>
                    <a:pt x="17" y="174"/>
                    <a:pt x="26" y="184"/>
                    <a:pt x="39" y="191"/>
                  </a:cubicBezTo>
                  <a:cubicBezTo>
                    <a:pt x="52" y="198"/>
                    <a:pt x="58" y="201"/>
                    <a:pt x="58" y="201"/>
                  </a:cubicBezTo>
                  <a:cubicBezTo>
                    <a:pt x="58" y="201"/>
                    <a:pt x="67" y="201"/>
                    <a:pt x="85" y="201"/>
                  </a:cubicBezTo>
                  <a:cubicBezTo>
                    <a:pt x="98" y="201"/>
                    <a:pt x="110" y="198"/>
                    <a:pt x="122" y="193"/>
                  </a:cubicBezTo>
                  <a:cubicBezTo>
                    <a:pt x="134" y="188"/>
                    <a:pt x="145" y="181"/>
                    <a:pt x="154" y="172"/>
                  </a:cubicBezTo>
                  <a:cubicBezTo>
                    <a:pt x="129" y="147"/>
                    <a:pt x="129" y="147"/>
                    <a:pt x="129" y="147"/>
                  </a:cubicBezTo>
                  <a:cubicBezTo>
                    <a:pt x="123" y="152"/>
                    <a:pt x="116" y="157"/>
                    <a:pt x="109" y="160"/>
                  </a:cubicBezTo>
                  <a:cubicBezTo>
                    <a:pt x="101" y="163"/>
                    <a:pt x="93" y="164"/>
                    <a:pt x="85" y="164"/>
                  </a:cubicBezTo>
                  <a:cubicBezTo>
                    <a:pt x="70" y="164"/>
                    <a:pt x="58" y="160"/>
                    <a:pt x="49" y="152"/>
                  </a:cubicBezTo>
                  <a:cubicBezTo>
                    <a:pt x="41" y="143"/>
                    <a:pt x="37" y="131"/>
                    <a:pt x="37" y="116"/>
                  </a:cubicBezTo>
                  <a:cubicBezTo>
                    <a:pt x="159" y="116"/>
                    <a:pt x="159" y="116"/>
                    <a:pt x="159" y="116"/>
                  </a:cubicBezTo>
                  <a:cubicBezTo>
                    <a:pt x="159" y="103"/>
                    <a:pt x="159" y="103"/>
                    <a:pt x="159" y="103"/>
                  </a:cubicBezTo>
                  <a:cubicBezTo>
                    <a:pt x="159" y="82"/>
                    <a:pt x="156" y="63"/>
                    <a:pt x="150" y="48"/>
                  </a:cubicBezTo>
                  <a:cubicBezTo>
                    <a:pt x="144" y="32"/>
                    <a:pt x="135" y="21"/>
                    <a:pt x="124" y="13"/>
                  </a:cubicBezTo>
                  <a:close/>
                  <a:moveTo>
                    <a:pt x="37" y="85"/>
                  </a:moveTo>
                  <a:cubicBezTo>
                    <a:pt x="38" y="70"/>
                    <a:pt x="41" y="58"/>
                    <a:pt x="48" y="49"/>
                  </a:cubicBezTo>
                  <a:cubicBezTo>
                    <a:pt x="56" y="40"/>
                    <a:pt x="68" y="35"/>
                    <a:pt x="82" y="35"/>
                  </a:cubicBezTo>
                  <a:cubicBezTo>
                    <a:pt x="94" y="35"/>
                    <a:pt x="103" y="39"/>
                    <a:pt x="111" y="48"/>
                  </a:cubicBezTo>
                  <a:cubicBezTo>
                    <a:pt x="118" y="57"/>
                    <a:pt x="122" y="69"/>
                    <a:pt x="123" y="85"/>
                  </a:cubicBezTo>
                  <a:lnTo>
                    <a:pt x="37" y="85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47" name="Freeform 7"/>
            <p:cNvSpPr>
              <a:spLocks/>
            </p:cNvSpPr>
            <p:nvPr/>
          </p:nvSpPr>
          <p:spPr bwMode="auto">
            <a:xfrm>
              <a:off x="1544762" y="-604895"/>
              <a:ext cx="168275" cy="685800"/>
            </a:xfrm>
            <a:custGeom>
              <a:avLst/>
              <a:gdLst>
                <a:gd name="T0" fmla="*/ 41 w 68"/>
                <a:gd name="T1" fmla="*/ 234 h 274"/>
                <a:gd name="T2" fmla="*/ 38 w 68"/>
                <a:gd name="T3" fmla="*/ 223 h 274"/>
                <a:gd name="T4" fmla="*/ 38 w 68"/>
                <a:gd name="T5" fmla="*/ 0 h 274"/>
                <a:gd name="T6" fmla="*/ 0 w 68"/>
                <a:gd name="T7" fmla="*/ 0 h 274"/>
                <a:gd name="T8" fmla="*/ 0 w 68"/>
                <a:gd name="T9" fmla="*/ 222 h 274"/>
                <a:gd name="T10" fmla="*/ 12 w 68"/>
                <a:gd name="T11" fmla="*/ 261 h 274"/>
                <a:gd name="T12" fmla="*/ 46 w 68"/>
                <a:gd name="T13" fmla="*/ 274 h 274"/>
                <a:gd name="T14" fmla="*/ 68 w 68"/>
                <a:gd name="T15" fmla="*/ 274 h 274"/>
                <a:gd name="T16" fmla="*/ 68 w 68"/>
                <a:gd name="T17" fmla="*/ 238 h 274"/>
                <a:gd name="T18" fmla="*/ 50 w 68"/>
                <a:gd name="T19" fmla="*/ 238 h 274"/>
                <a:gd name="T20" fmla="*/ 41 w 68"/>
                <a:gd name="T21" fmla="*/ 23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" h="274">
                  <a:moveTo>
                    <a:pt x="41" y="234"/>
                  </a:moveTo>
                  <a:cubicBezTo>
                    <a:pt x="39" y="231"/>
                    <a:pt x="38" y="228"/>
                    <a:pt x="38" y="223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0" y="239"/>
                    <a:pt x="4" y="252"/>
                    <a:pt x="12" y="261"/>
                  </a:cubicBezTo>
                  <a:cubicBezTo>
                    <a:pt x="20" y="270"/>
                    <a:pt x="31" y="274"/>
                    <a:pt x="46" y="274"/>
                  </a:cubicBezTo>
                  <a:cubicBezTo>
                    <a:pt x="68" y="274"/>
                    <a:pt x="68" y="274"/>
                    <a:pt x="68" y="274"/>
                  </a:cubicBezTo>
                  <a:cubicBezTo>
                    <a:pt x="68" y="238"/>
                    <a:pt x="68" y="238"/>
                    <a:pt x="68" y="238"/>
                  </a:cubicBezTo>
                  <a:cubicBezTo>
                    <a:pt x="50" y="238"/>
                    <a:pt x="50" y="238"/>
                    <a:pt x="50" y="238"/>
                  </a:cubicBezTo>
                  <a:cubicBezTo>
                    <a:pt x="46" y="238"/>
                    <a:pt x="43" y="236"/>
                    <a:pt x="41" y="234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48" name="Freeform 8"/>
            <p:cNvSpPr>
              <a:spLocks/>
            </p:cNvSpPr>
            <p:nvPr/>
          </p:nvSpPr>
          <p:spPr bwMode="auto">
            <a:xfrm>
              <a:off x="1900362" y="-604895"/>
              <a:ext cx="239713" cy="682625"/>
            </a:xfrm>
            <a:custGeom>
              <a:avLst/>
              <a:gdLst>
                <a:gd name="T0" fmla="*/ 32 w 97"/>
                <a:gd name="T1" fmla="*/ 13 h 273"/>
                <a:gd name="T2" fmla="*/ 20 w 97"/>
                <a:gd name="T3" fmla="*/ 52 h 273"/>
                <a:gd name="T4" fmla="*/ 20 w 97"/>
                <a:gd name="T5" fmla="*/ 78 h 273"/>
                <a:gd name="T6" fmla="*/ 0 w 97"/>
                <a:gd name="T7" fmla="*/ 78 h 273"/>
                <a:gd name="T8" fmla="*/ 0 w 97"/>
                <a:gd name="T9" fmla="*/ 111 h 273"/>
                <a:gd name="T10" fmla="*/ 20 w 97"/>
                <a:gd name="T11" fmla="*/ 111 h 273"/>
                <a:gd name="T12" fmla="*/ 20 w 97"/>
                <a:gd name="T13" fmla="*/ 273 h 273"/>
                <a:gd name="T14" fmla="*/ 58 w 97"/>
                <a:gd name="T15" fmla="*/ 273 h 273"/>
                <a:gd name="T16" fmla="*/ 58 w 97"/>
                <a:gd name="T17" fmla="*/ 111 h 273"/>
                <a:gd name="T18" fmla="*/ 97 w 97"/>
                <a:gd name="T19" fmla="*/ 111 h 273"/>
                <a:gd name="T20" fmla="*/ 97 w 97"/>
                <a:gd name="T21" fmla="*/ 78 h 273"/>
                <a:gd name="T22" fmla="*/ 58 w 97"/>
                <a:gd name="T23" fmla="*/ 78 h 273"/>
                <a:gd name="T24" fmla="*/ 58 w 97"/>
                <a:gd name="T25" fmla="*/ 51 h 273"/>
                <a:gd name="T26" fmla="*/ 61 w 97"/>
                <a:gd name="T27" fmla="*/ 41 h 273"/>
                <a:gd name="T28" fmla="*/ 70 w 97"/>
                <a:gd name="T29" fmla="*/ 36 h 273"/>
                <a:gd name="T30" fmla="*/ 97 w 97"/>
                <a:gd name="T31" fmla="*/ 36 h 273"/>
                <a:gd name="T32" fmla="*/ 97 w 97"/>
                <a:gd name="T33" fmla="*/ 0 h 273"/>
                <a:gd name="T34" fmla="*/ 69 w 97"/>
                <a:gd name="T35" fmla="*/ 0 h 273"/>
                <a:gd name="T36" fmla="*/ 32 w 97"/>
                <a:gd name="T37" fmla="*/ 1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7" h="273">
                  <a:moveTo>
                    <a:pt x="32" y="13"/>
                  </a:moveTo>
                  <a:cubicBezTo>
                    <a:pt x="24" y="21"/>
                    <a:pt x="20" y="34"/>
                    <a:pt x="20" y="52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20" y="111"/>
                    <a:pt x="20" y="111"/>
                    <a:pt x="20" y="111"/>
                  </a:cubicBezTo>
                  <a:cubicBezTo>
                    <a:pt x="20" y="273"/>
                    <a:pt x="20" y="273"/>
                    <a:pt x="20" y="273"/>
                  </a:cubicBezTo>
                  <a:cubicBezTo>
                    <a:pt x="58" y="273"/>
                    <a:pt x="58" y="273"/>
                    <a:pt x="58" y="273"/>
                  </a:cubicBezTo>
                  <a:cubicBezTo>
                    <a:pt x="58" y="111"/>
                    <a:pt x="58" y="111"/>
                    <a:pt x="58" y="111"/>
                  </a:cubicBezTo>
                  <a:cubicBezTo>
                    <a:pt x="97" y="111"/>
                    <a:pt x="97" y="111"/>
                    <a:pt x="97" y="111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58" y="47"/>
                    <a:pt x="59" y="43"/>
                    <a:pt x="61" y="41"/>
                  </a:cubicBezTo>
                  <a:cubicBezTo>
                    <a:pt x="63" y="38"/>
                    <a:pt x="66" y="36"/>
                    <a:pt x="70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52" y="0"/>
                    <a:pt x="40" y="4"/>
                    <a:pt x="32" y="13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49" name="Rectangle 9"/>
            <p:cNvSpPr>
              <a:spLocks noChangeArrowheads="1"/>
            </p:cNvSpPr>
            <p:nvPr/>
          </p:nvSpPr>
          <p:spPr bwMode="auto">
            <a:xfrm>
              <a:off x="2354387" y="-212782"/>
              <a:ext cx="312738" cy="90488"/>
            </a:xfrm>
            <a:prstGeom prst="rect">
              <a:avLst/>
            </a:pr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0" name="Freeform 10"/>
            <p:cNvSpPr>
              <a:spLocks/>
            </p:cNvSpPr>
            <p:nvPr/>
          </p:nvSpPr>
          <p:spPr bwMode="auto">
            <a:xfrm>
              <a:off x="2935412" y="-604895"/>
              <a:ext cx="574675" cy="682625"/>
            </a:xfrm>
            <a:custGeom>
              <a:avLst/>
              <a:gdLst>
                <a:gd name="T0" fmla="*/ 181 w 362"/>
                <a:gd name="T1" fmla="*/ 284 h 430"/>
                <a:gd name="T2" fmla="*/ 56 w 362"/>
                <a:gd name="T3" fmla="*/ 0 h 430"/>
                <a:gd name="T4" fmla="*/ 0 w 362"/>
                <a:gd name="T5" fmla="*/ 0 h 430"/>
                <a:gd name="T6" fmla="*/ 0 w 362"/>
                <a:gd name="T7" fmla="*/ 430 h 430"/>
                <a:gd name="T8" fmla="*/ 57 w 362"/>
                <a:gd name="T9" fmla="*/ 430 h 430"/>
                <a:gd name="T10" fmla="*/ 57 w 362"/>
                <a:gd name="T11" fmla="*/ 140 h 430"/>
                <a:gd name="T12" fmla="*/ 161 w 362"/>
                <a:gd name="T13" fmla="*/ 370 h 430"/>
                <a:gd name="T14" fmla="*/ 201 w 362"/>
                <a:gd name="T15" fmla="*/ 370 h 430"/>
                <a:gd name="T16" fmla="*/ 304 w 362"/>
                <a:gd name="T17" fmla="*/ 134 h 430"/>
                <a:gd name="T18" fmla="*/ 304 w 362"/>
                <a:gd name="T19" fmla="*/ 430 h 430"/>
                <a:gd name="T20" fmla="*/ 362 w 362"/>
                <a:gd name="T21" fmla="*/ 430 h 430"/>
                <a:gd name="T22" fmla="*/ 362 w 362"/>
                <a:gd name="T23" fmla="*/ 0 h 430"/>
                <a:gd name="T24" fmla="*/ 306 w 362"/>
                <a:gd name="T25" fmla="*/ 0 h 430"/>
                <a:gd name="T26" fmla="*/ 181 w 362"/>
                <a:gd name="T27" fmla="*/ 284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2" h="430">
                  <a:moveTo>
                    <a:pt x="181" y="284"/>
                  </a:moveTo>
                  <a:lnTo>
                    <a:pt x="56" y="0"/>
                  </a:lnTo>
                  <a:lnTo>
                    <a:pt x="0" y="0"/>
                  </a:lnTo>
                  <a:lnTo>
                    <a:pt x="0" y="430"/>
                  </a:lnTo>
                  <a:lnTo>
                    <a:pt x="57" y="430"/>
                  </a:lnTo>
                  <a:lnTo>
                    <a:pt x="57" y="140"/>
                  </a:lnTo>
                  <a:lnTo>
                    <a:pt x="161" y="370"/>
                  </a:lnTo>
                  <a:lnTo>
                    <a:pt x="201" y="370"/>
                  </a:lnTo>
                  <a:lnTo>
                    <a:pt x="304" y="134"/>
                  </a:lnTo>
                  <a:lnTo>
                    <a:pt x="304" y="430"/>
                  </a:lnTo>
                  <a:lnTo>
                    <a:pt x="362" y="430"/>
                  </a:lnTo>
                  <a:lnTo>
                    <a:pt x="362" y="0"/>
                  </a:lnTo>
                  <a:lnTo>
                    <a:pt x="306" y="0"/>
                  </a:lnTo>
                  <a:lnTo>
                    <a:pt x="181" y="284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1" name="Freeform 11"/>
            <p:cNvSpPr>
              <a:spLocks noEditPoints="1"/>
            </p:cNvSpPr>
            <p:nvPr/>
          </p:nvSpPr>
          <p:spPr bwMode="auto">
            <a:xfrm>
              <a:off x="3760912" y="-417570"/>
              <a:ext cx="387350" cy="503238"/>
            </a:xfrm>
            <a:custGeom>
              <a:avLst/>
              <a:gdLst>
                <a:gd name="T0" fmla="*/ 120 w 156"/>
                <a:gd name="T1" fmla="*/ 9 h 201"/>
                <a:gd name="T2" fmla="*/ 79 w 156"/>
                <a:gd name="T3" fmla="*/ 0 h 201"/>
                <a:gd name="T4" fmla="*/ 38 w 156"/>
                <a:gd name="T5" fmla="*/ 8 h 201"/>
                <a:gd name="T6" fmla="*/ 9 w 156"/>
                <a:gd name="T7" fmla="*/ 28 h 201"/>
                <a:gd name="T8" fmla="*/ 37 w 156"/>
                <a:gd name="T9" fmla="*/ 48 h 201"/>
                <a:gd name="T10" fmla="*/ 57 w 156"/>
                <a:gd name="T11" fmla="*/ 38 h 201"/>
                <a:gd name="T12" fmla="*/ 80 w 156"/>
                <a:gd name="T13" fmla="*/ 34 h 201"/>
                <a:gd name="T14" fmla="*/ 109 w 156"/>
                <a:gd name="T15" fmla="*/ 45 h 201"/>
                <a:gd name="T16" fmla="*/ 119 w 156"/>
                <a:gd name="T17" fmla="*/ 75 h 201"/>
                <a:gd name="T18" fmla="*/ 119 w 156"/>
                <a:gd name="T19" fmla="*/ 83 h 201"/>
                <a:gd name="T20" fmla="*/ 65 w 156"/>
                <a:gd name="T21" fmla="*/ 83 h 201"/>
                <a:gd name="T22" fmla="*/ 16 w 156"/>
                <a:gd name="T23" fmla="*/ 97 h 201"/>
                <a:gd name="T24" fmla="*/ 0 w 156"/>
                <a:gd name="T25" fmla="*/ 141 h 201"/>
                <a:gd name="T26" fmla="*/ 18 w 156"/>
                <a:gd name="T27" fmla="*/ 186 h 201"/>
                <a:gd name="T28" fmla="*/ 71 w 156"/>
                <a:gd name="T29" fmla="*/ 201 h 201"/>
                <a:gd name="T30" fmla="*/ 93 w 156"/>
                <a:gd name="T31" fmla="*/ 198 h 201"/>
                <a:gd name="T32" fmla="*/ 111 w 156"/>
                <a:gd name="T33" fmla="*/ 191 h 201"/>
                <a:gd name="T34" fmla="*/ 119 w 156"/>
                <a:gd name="T35" fmla="*/ 182 h 201"/>
                <a:gd name="T36" fmla="*/ 119 w 156"/>
                <a:gd name="T37" fmla="*/ 198 h 201"/>
                <a:gd name="T38" fmla="*/ 156 w 156"/>
                <a:gd name="T39" fmla="*/ 198 h 201"/>
                <a:gd name="T40" fmla="*/ 156 w 156"/>
                <a:gd name="T41" fmla="*/ 73 h 201"/>
                <a:gd name="T42" fmla="*/ 147 w 156"/>
                <a:gd name="T43" fmla="*/ 34 h 201"/>
                <a:gd name="T44" fmla="*/ 120 w 156"/>
                <a:gd name="T45" fmla="*/ 9 h 201"/>
                <a:gd name="T46" fmla="*/ 108 w 156"/>
                <a:gd name="T47" fmla="*/ 165 h 201"/>
                <a:gd name="T48" fmla="*/ 76 w 156"/>
                <a:gd name="T49" fmla="*/ 170 h 201"/>
                <a:gd name="T50" fmla="*/ 46 w 156"/>
                <a:gd name="T51" fmla="*/ 163 h 201"/>
                <a:gd name="T52" fmla="*/ 36 w 156"/>
                <a:gd name="T53" fmla="*/ 141 h 201"/>
                <a:gd name="T54" fmla="*/ 43 w 156"/>
                <a:gd name="T55" fmla="*/ 120 h 201"/>
                <a:gd name="T56" fmla="*/ 66 w 156"/>
                <a:gd name="T57" fmla="*/ 114 h 201"/>
                <a:gd name="T58" fmla="*/ 119 w 156"/>
                <a:gd name="T59" fmla="*/ 114 h 201"/>
                <a:gd name="T60" fmla="*/ 119 w 156"/>
                <a:gd name="T61" fmla="*/ 150 h 201"/>
                <a:gd name="T62" fmla="*/ 108 w 156"/>
                <a:gd name="T63" fmla="*/ 165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6" h="201">
                  <a:moveTo>
                    <a:pt x="120" y="9"/>
                  </a:moveTo>
                  <a:cubicBezTo>
                    <a:pt x="109" y="3"/>
                    <a:pt x="95" y="0"/>
                    <a:pt x="79" y="0"/>
                  </a:cubicBezTo>
                  <a:cubicBezTo>
                    <a:pt x="64" y="0"/>
                    <a:pt x="51" y="3"/>
                    <a:pt x="38" y="8"/>
                  </a:cubicBezTo>
                  <a:cubicBezTo>
                    <a:pt x="26" y="13"/>
                    <a:pt x="17" y="20"/>
                    <a:pt x="9" y="2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43" y="43"/>
                    <a:pt x="50" y="40"/>
                    <a:pt x="57" y="38"/>
                  </a:cubicBezTo>
                  <a:cubicBezTo>
                    <a:pt x="65" y="35"/>
                    <a:pt x="72" y="34"/>
                    <a:pt x="80" y="34"/>
                  </a:cubicBezTo>
                  <a:cubicBezTo>
                    <a:pt x="92" y="34"/>
                    <a:pt x="102" y="38"/>
                    <a:pt x="109" y="45"/>
                  </a:cubicBezTo>
                  <a:cubicBezTo>
                    <a:pt x="116" y="52"/>
                    <a:pt x="119" y="62"/>
                    <a:pt x="119" y="75"/>
                  </a:cubicBezTo>
                  <a:cubicBezTo>
                    <a:pt x="119" y="83"/>
                    <a:pt x="119" y="83"/>
                    <a:pt x="119" y="83"/>
                  </a:cubicBezTo>
                  <a:cubicBezTo>
                    <a:pt x="65" y="83"/>
                    <a:pt x="65" y="83"/>
                    <a:pt x="65" y="83"/>
                  </a:cubicBezTo>
                  <a:cubicBezTo>
                    <a:pt x="43" y="83"/>
                    <a:pt x="27" y="88"/>
                    <a:pt x="16" y="97"/>
                  </a:cubicBezTo>
                  <a:cubicBezTo>
                    <a:pt x="5" y="107"/>
                    <a:pt x="0" y="121"/>
                    <a:pt x="0" y="141"/>
                  </a:cubicBezTo>
                  <a:cubicBezTo>
                    <a:pt x="0" y="161"/>
                    <a:pt x="6" y="176"/>
                    <a:pt x="18" y="186"/>
                  </a:cubicBezTo>
                  <a:cubicBezTo>
                    <a:pt x="29" y="196"/>
                    <a:pt x="47" y="201"/>
                    <a:pt x="71" y="201"/>
                  </a:cubicBezTo>
                  <a:cubicBezTo>
                    <a:pt x="80" y="201"/>
                    <a:pt x="87" y="200"/>
                    <a:pt x="93" y="198"/>
                  </a:cubicBezTo>
                  <a:cubicBezTo>
                    <a:pt x="100" y="197"/>
                    <a:pt x="106" y="194"/>
                    <a:pt x="111" y="191"/>
                  </a:cubicBezTo>
                  <a:cubicBezTo>
                    <a:pt x="114" y="188"/>
                    <a:pt x="117" y="185"/>
                    <a:pt x="119" y="182"/>
                  </a:cubicBezTo>
                  <a:cubicBezTo>
                    <a:pt x="119" y="198"/>
                    <a:pt x="119" y="198"/>
                    <a:pt x="119" y="198"/>
                  </a:cubicBezTo>
                  <a:cubicBezTo>
                    <a:pt x="156" y="198"/>
                    <a:pt x="156" y="198"/>
                    <a:pt x="156" y="198"/>
                  </a:cubicBezTo>
                  <a:cubicBezTo>
                    <a:pt x="156" y="73"/>
                    <a:pt x="156" y="73"/>
                    <a:pt x="156" y="73"/>
                  </a:cubicBezTo>
                  <a:cubicBezTo>
                    <a:pt x="156" y="58"/>
                    <a:pt x="153" y="44"/>
                    <a:pt x="147" y="34"/>
                  </a:cubicBezTo>
                  <a:cubicBezTo>
                    <a:pt x="141" y="23"/>
                    <a:pt x="132" y="15"/>
                    <a:pt x="120" y="9"/>
                  </a:cubicBezTo>
                  <a:close/>
                  <a:moveTo>
                    <a:pt x="108" y="165"/>
                  </a:moveTo>
                  <a:cubicBezTo>
                    <a:pt x="101" y="168"/>
                    <a:pt x="90" y="170"/>
                    <a:pt x="76" y="170"/>
                  </a:cubicBezTo>
                  <a:cubicBezTo>
                    <a:pt x="62" y="170"/>
                    <a:pt x="52" y="167"/>
                    <a:pt x="46" y="163"/>
                  </a:cubicBezTo>
                  <a:cubicBezTo>
                    <a:pt x="39" y="158"/>
                    <a:pt x="36" y="151"/>
                    <a:pt x="36" y="141"/>
                  </a:cubicBezTo>
                  <a:cubicBezTo>
                    <a:pt x="36" y="131"/>
                    <a:pt x="38" y="125"/>
                    <a:pt x="43" y="120"/>
                  </a:cubicBezTo>
                  <a:cubicBezTo>
                    <a:pt x="48" y="116"/>
                    <a:pt x="56" y="114"/>
                    <a:pt x="66" y="114"/>
                  </a:cubicBezTo>
                  <a:cubicBezTo>
                    <a:pt x="119" y="114"/>
                    <a:pt x="119" y="114"/>
                    <a:pt x="119" y="114"/>
                  </a:cubicBezTo>
                  <a:cubicBezTo>
                    <a:pt x="119" y="150"/>
                    <a:pt x="119" y="150"/>
                    <a:pt x="119" y="150"/>
                  </a:cubicBezTo>
                  <a:cubicBezTo>
                    <a:pt x="119" y="157"/>
                    <a:pt x="116" y="162"/>
                    <a:pt x="108" y="165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2" name="Freeform 12"/>
            <p:cNvSpPr>
              <a:spLocks/>
            </p:cNvSpPr>
            <p:nvPr/>
          </p:nvSpPr>
          <p:spPr bwMode="auto">
            <a:xfrm>
              <a:off x="4407025" y="-417570"/>
              <a:ext cx="388938" cy="495300"/>
            </a:xfrm>
            <a:custGeom>
              <a:avLst/>
              <a:gdLst>
                <a:gd name="T0" fmla="*/ 90 w 157"/>
                <a:gd name="T1" fmla="*/ 0 h 198"/>
                <a:gd name="T2" fmla="*/ 58 w 157"/>
                <a:gd name="T3" fmla="*/ 10 h 198"/>
                <a:gd name="T4" fmla="*/ 38 w 157"/>
                <a:gd name="T5" fmla="*/ 31 h 198"/>
                <a:gd name="T6" fmla="*/ 38 w 157"/>
                <a:gd name="T7" fmla="*/ 3 h 198"/>
                <a:gd name="T8" fmla="*/ 0 w 157"/>
                <a:gd name="T9" fmla="*/ 3 h 198"/>
                <a:gd name="T10" fmla="*/ 0 w 157"/>
                <a:gd name="T11" fmla="*/ 198 h 198"/>
                <a:gd name="T12" fmla="*/ 38 w 157"/>
                <a:gd name="T13" fmla="*/ 198 h 198"/>
                <a:gd name="T14" fmla="*/ 38 w 157"/>
                <a:gd name="T15" fmla="*/ 75 h 198"/>
                <a:gd name="T16" fmla="*/ 49 w 157"/>
                <a:gd name="T17" fmla="*/ 47 h 198"/>
                <a:gd name="T18" fmla="*/ 78 w 157"/>
                <a:gd name="T19" fmla="*/ 37 h 198"/>
                <a:gd name="T20" fmla="*/ 108 w 157"/>
                <a:gd name="T21" fmla="*/ 48 h 198"/>
                <a:gd name="T22" fmla="*/ 118 w 157"/>
                <a:gd name="T23" fmla="*/ 80 h 198"/>
                <a:gd name="T24" fmla="*/ 118 w 157"/>
                <a:gd name="T25" fmla="*/ 198 h 198"/>
                <a:gd name="T26" fmla="*/ 157 w 157"/>
                <a:gd name="T27" fmla="*/ 198 h 198"/>
                <a:gd name="T28" fmla="*/ 157 w 157"/>
                <a:gd name="T29" fmla="*/ 80 h 198"/>
                <a:gd name="T30" fmla="*/ 139 w 157"/>
                <a:gd name="T31" fmla="*/ 21 h 198"/>
                <a:gd name="T32" fmla="*/ 90 w 157"/>
                <a:gd name="T33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7" h="198">
                  <a:moveTo>
                    <a:pt x="90" y="0"/>
                  </a:moveTo>
                  <a:cubicBezTo>
                    <a:pt x="78" y="0"/>
                    <a:pt x="68" y="4"/>
                    <a:pt x="58" y="10"/>
                  </a:cubicBezTo>
                  <a:cubicBezTo>
                    <a:pt x="50" y="15"/>
                    <a:pt x="44" y="22"/>
                    <a:pt x="38" y="31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38" y="198"/>
                    <a:pt x="38" y="198"/>
                    <a:pt x="38" y="198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8" y="63"/>
                    <a:pt x="42" y="53"/>
                    <a:pt x="49" y="47"/>
                  </a:cubicBezTo>
                  <a:cubicBezTo>
                    <a:pt x="55" y="40"/>
                    <a:pt x="65" y="37"/>
                    <a:pt x="78" y="37"/>
                  </a:cubicBezTo>
                  <a:cubicBezTo>
                    <a:pt x="90" y="37"/>
                    <a:pt x="100" y="41"/>
                    <a:pt x="108" y="48"/>
                  </a:cubicBezTo>
                  <a:cubicBezTo>
                    <a:pt x="115" y="56"/>
                    <a:pt x="118" y="66"/>
                    <a:pt x="118" y="80"/>
                  </a:cubicBezTo>
                  <a:cubicBezTo>
                    <a:pt x="118" y="198"/>
                    <a:pt x="118" y="198"/>
                    <a:pt x="118" y="198"/>
                  </a:cubicBezTo>
                  <a:cubicBezTo>
                    <a:pt x="157" y="198"/>
                    <a:pt x="157" y="198"/>
                    <a:pt x="157" y="198"/>
                  </a:cubicBezTo>
                  <a:cubicBezTo>
                    <a:pt x="157" y="80"/>
                    <a:pt x="157" y="80"/>
                    <a:pt x="157" y="80"/>
                  </a:cubicBezTo>
                  <a:cubicBezTo>
                    <a:pt x="157" y="54"/>
                    <a:pt x="151" y="35"/>
                    <a:pt x="139" y="21"/>
                  </a:cubicBezTo>
                  <a:cubicBezTo>
                    <a:pt x="128" y="7"/>
                    <a:pt x="111" y="0"/>
                    <a:pt x="90" y="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3" name="Freeform 13"/>
            <p:cNvSpPr>
              <a:spLocks noEditPoints="1"/>
            </p:cNvSpPr>
            <p:nvPr/>
          </p:nvSpPr>
          <p:spPr bwMode="auto">
            <a:xfrm>
              <a:off x="5032500" y="-417570"/>
              <a:ext cx="384175" cy="503238"/>
            </a:xfrm>
            <a:custGeom>
              <a:avLst/>
              <a:gdLst>
                <a:gd name="T0" fmla="*/ 120 w 155"/>
                <a:gd name="T1" fmla="*/ 9 h 201"/>
                <a:gd name="T2" fmla="*/ 79 w 155"/>
                <a:gd name="T3" fmla="*/ 0 h 201"/>
                <a:gd name="T4" fmla="*/ 38 w 155"/>
                <a:gd name="T5" fmla="*/ 8 h 201"/>
                <a:gd name="T6" fmla="*/ 9 w 155"/>
                <a:gd name="T7" fmla="*/ 28 h 201"/>
                <a:gd name="T8" fmla="*/ 37 w 155"/>
                <a:gd name="T9" fmla="*/ 48 h 201"/>
                <a:gd name="T10" fmla="*/ 57 w 155"/>
                <a:gd name="T11" fmla="*/ 38 h 201"/>
                <a:gd name="T12" fmla="*/ 80 w 155"/>
                <a:gd name="T13" fmla="*/ 34 h 201"/>
                <a:gd name="T14" fmla="*/ 109 w 155"/>
                <a:gd name="T15" fmla="*/ 45 h 201"/>
                <a:gd name="T16" fmla="*/ 119 w 155"/>
                <a:gd name="T17" fmla="*/ 75 h 201"/>
                <a:gd name="T18" fmla="*/ 119 w 155"/>
                <a:gd name="T19" fmla="*/ 83 h 201"/>
                <a:gd name="T20" fmla="*/ 65 w 155"/>
                <a:gd name="T21" fmla="*/ 83 h 201"/>
                <a:gd name="T22" fmla="*/ 16 w 155"/>
                <a:gd name="T23" fmla="*/ 97 h 201"/>
                <a:gd name="T24" fmla="*/ 0 w 155"/>
                <a:gd name="T25" fmla="*/ 141 h 201"/>
                <a:gd name="T26" fmla="*/ 17 w 155"/>
                <a:gd name="T27" fmla="*/ 186 h 201"/>
                <a:gd name="T28" fmla="*/ 71 w 155"/>
                <a:gd name="T29" fmla="*/ 201 h 201"/>
                <a:gd name="T30" fmla="*/ 93 w 155"/>
                <a:gd name="T31" fmla="*/ 198 h 201"/>
                <a:gd name="T32" fmla="*/ 111 w 155"/>
                <a:gd name="T33" fmla="*/ 191 h 201"/>
                <a:gd name="T34" fmla="*/ 119 w 155"/>
                <a:gd name="T35" fmla="*/ 182 h 201"/>
                <a:gd name="T36" fmla="*/ 119 w 155"/>
                <a:gd name="T37" fmla="*/ 198 h 201"/>
                <a:gd name="T38" fmla="*/ 155 w 155"/>
                <a:gd name="T39" fmla="*/ 198 h 201"/>
                <a:gd name="T40" fmla="*/ 155 w 155"/>
                <a:gd name="T41" fmla="*/ 73 h 201"/>
                <a:gd name="T42" fmla="*/ 146 w 155"/>
                <a:gd name="T43" fmla="*/ 34 h 201"/>
                <a:gd name="T44" fmla="*/ 120 w 155"/>
                <a:gd name="T45" fmla="*/ 9 h 201"/>
                <a:gd name="T46" fmla="*/ 108 w 155"/>
                <a:gd name="T47" fmla="*/ 165 h 201"/>
                <a:gd name="T48" fmla="*/ 75 w 155"/>
                <a:gd name="T49" fmla="*/ 170 h 201"/>
                <a:gd name="T50" fmla="*/ 46 w 155"/>
                <a:gd name="T51" fmla="*/ 163 h 201"/>
                <a:gd name="T52" fmla="*/ 36 w 155"/>
                <a:gd name="T53" fmla="*/ 141 h 201"/>
                <a:gd name="T54" fmla="*/ 43 w 155"/>
                <a:gd name="T55" fmla="*/ 120 h 201"/>
                <a:gd name="T56" fmla="*/ 66 w 155"/>
                <a:gd name="T57" fmla="*/ 114 h 201"/>
                <a:gd name="T58" fmla="*/ 119 w 155"/>
                <a:gd name="T59" fmla="*/ 114 h 201"/>
                <a:gd name="T60" fmla="*/ 119 w 155"/>
                <a:gd name="T61" fmla="*/ 150 h 201"/>
                <a:gd name="T62" fmla="*/ 108 w 155"/>
                <a:gd name="T63" fmla="*/ 165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5" h="201">
                  <a:moveTo>
                    <a:pt x="120" y="9"/>
                  </a:moveTo>
                  <a:cubicBezTo>
                    <a:pt x="109" y="3"/>
                    <a:pt x="95" y="0"/>
                    <a:pt x="79" y="0"/>
                  </a:cubicBezTo>
                  <a:cubicBezTo>
                    <a:pt x="64" y="0"/>
                    <a:pt x="50" y="3"/>
                    <a:pt x="38" y="8"/>
                  </a:cubicBezTo>
                  <a:cubicBezTo>
                    <a:pt x="26" y="13"/>
                    <a:pt x="17" y="20"/>
                    <a:pt x="9" y="2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43" y="43"/>
                    <a:pt x="50" y="40"/>
                    <a:pt x="57" y="38"/>
                  </a:cubicBezTo>
                  <a:cubicBezTo>
                    <a:pt x="64" y="35"/>
                    <a:pt x="72" y="34"/>
                    <a:pt x="80" y="34"/>
                  </a:cubicBezTo>
                  <a:cubicBezTo>
                    <a:pt x="92" y="34"/>
                    <a:pt x="102" y="38"/>
                    <a:pt x="109" y="45"/>
                  </a:cubicBezTo>
                  <a:cubicBezTo>
                    <a:pt x="116" y="52"/>
                    <a:pt x="119" y="62"/>
                    <a:pt x="119" y="75"/>
                  </a:cubicBezTo>
                  <a:cubicBezTo>
                    <a:pt x="119" y="83"/>
                    <a:pt x="119" y="83"/>
                    <a:pt x="119" y="83"/>
                  </a:cubicBezTo>
                  <a:cubicBezTo>
                    <a:pt x="65" y="83"/>
                    <a:pt x="65" y="83"/>
                    <a:pt x="65" y="83"/>
                  </a:cubicBezTo>
                  <a:cubicBezTo>
                    <a:pt x="43" y="83"/>
                    <a:pt x="27" y="88"/>
                    <a:pt x="16" y="97"/>
                  </a:cubicBezTo>
                  <a:cubicBezTo>
                    <a:pt x="5" y="107"/>
                    <a:pt x="0" y="121"/>
                    <a:pt x="0" y="141"/>
                  </a:cubicBezTo>
                  <a:cubicBezTo>
                    <a:pt x="0" y="161"/>
                    <a:pt x="6" y="176"/>
                    <a:pt x="17" y="186"/>
                  </a:cubicBezTo>
                  <a:cubicBezTo>
                    <a:pt x="29" y="196"/>
                    <a:pt x="47" y="201"/>
                    <a:pt x="71" y="201"/>
                  </a:cubicBezTo>
                  <a:cubicBezTo>
                    <a:pt x="79" y="201"/>
                    <a:pt x="87" y="200"/>
                    <a:pt x="93" y="198"/>
                  </a:cubicBezTo>
                  <a:cubicBezTo>
                    <a:pt x="100" y="197"/>
                    <a:pt x="106" y="194"/>
                    <a:pt x="111" y="191"/>
                  </a:cubicBezTo>
                  <a:cubicBezTo>
                    <a:pt x="114" y="188"/>
                    <a:pt x="116" y="185"/>
                    <a:pt x="119" y="182"/>
                  </a:cubicBezTo>
                  <a:cubicBezTo>
                    <a:pt x="119" y="198"/>
                    <a:pt x="119" y="198"/>
                    <a:pt x="119" y="198"/>
                  </a:cubicBezTo>
                  <a:cubicBezTo>
                    <a:pt x="155" y="198"/>
                    <a:pt x="155" y="198"/>
                    <a:pt x="155" y="198"/>
                  </a:cubicBezTo>
                  <a:cubicBezTo>
                    <a:pt x="155" y="73"/>
                    <a:pt x="155" y="73"/>
                    <a:pt x="155" y="73"/>
                  </a:cubicBezTo>
                  <a:cubicBezTo>
                    <a:pt x="155" y="58"/>
                    <a:pt x="152" y="44"/>
                    <a:pt x="146" y="34"/>
                  </a:cubicBezTo>
                  <a:cubicBezTo>
                    <a:pt x="140" y="23"/>
                    <a:pt x="132" y="15"/>
                    <a:pt x="120" y="9"/>
                  </a:cubicBezTo>
                  <a:close/>
                  <a:moveTo>
                    <a:pt x="108" y="165"/>
                  </a:moveTo>
                  <a:cubicBezTo>
                    <a:pt x="101" y="168"/>
                    <a:pt x="90" y="170"/>
                    <a:pt x="75" y="170"/>
                  </a:cubicBezTo>
                  <a:cubicBezTo>
                    <a:pt x="62" y="170"/>
                    <a:pt x="52" y="167"/>
                    <a:pt x="46" y="163"/>
                  </a:cubicBezTo>
                  <a:cubicBezTo>
                    <a:pt x="39" y="158"/>
                    <a:pt x="36" y="151"/>
                    <a:pt x="36" y="141"/>
                  </a:cubicBezTo>
                  <a:cubicBezTo>
                    <a:pt x="36" y="131"/>
                    <a:pt x="38" y="125"/>
                    <a:pt x="43" y="120"/>
                  </a:cubicBezTo>
                  <a:cubicBezTo>
                    <a:pt x="48" y="116"/>
                    <a:pt x="56" y="114"/>
                    <a:pt x="66" y="114"/>
                  </a:cubicBezTo>
                  <a:cubicBezTo>
                    <a:pt x="119" y="114"/>
                    <a:pt x="119" y="114"/>
                    <a:pt x="119" y="114"/>
                  </a:cubicBezTo>
                  <a:cubicBezTo>
                    <a:pt x="119" y="150"/>
                    <a:pt x="119" y="150"/>
                    <a:pt x="119" y="150"/>
                  </a:cubicBezTo>
                  <a:cubicBezTo>
                    <a:pt x="119" y="157"/>
                    <a:pt x="115" y="162"/>
                    <a:pt x="108" y="165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4" name="Freeform 15"/>
            <p:cNvSpPr>
              <a:spLocks noEditPoints="1"/>
            </p:cNvSpPr>
            <p:nvPr/>
          </p:nvSpPr>
          <p:spPr bwMode="auto">
            <a:xfrm>
              <a:off x="6292975" y="-417570"/>
              <a:ext cx="395288" cy="503238"/>
            </a:xfrm>
            <a:custGeom>
              <a:avLst/>
              <a:gdLst>
                <a:gd name="T0" fmla="*/ 124 w 159"/>
                <a:gd name="T1" fmla="*/ 13 h 201"/>
                <a:gd name="T2" fmla="*/ 82 w 159"/>
                <a:gd name="T3" fmla="*/ 0 h 201"/>
                <a:gd name="T4" fmla="*/ 38 w 159"/>
                <a:gd name="T5" fmla="*/ 11 h 201"/>
                <a:gd name="T6" fmla="*/ 9 w 159"/>
                <a:gd name="T7" fmla="*/ 42 h 201"/>
                <a:gd name="T8" fmla="*/ 0 w 159"/>
                <a:gd name="T9" fmla="*/ 92 h 201"/>
                <a:gd name="T10" fmla="*/ 0 w 159"/>
                <a:gd name="T11" fmla="*/ 114 h 201"/>
                <a:gd name="T12" fmla="*/ 10 w 159"/>
                <a:gd name="T13" fmla="*/ 161 h 201"/>
                <a:gd name="T14" fmla="*/ 39 w 159"/>
                <a:gd name="T15" fmla="*/ 191 h 201"/>
                <a:gd name="T16" fmla="*/ 58 w 159"/>
                <a:gd name="T17" fmla="*/ 201 h 201"/>
                <a:gd name="T18" fmla="*/ 85 w 159"/>
                <a:gd name="T19" fmla="*/ 201 h 201"/>
                <a:gd name="T20" fmla="*/ 121 w 159"/>
                <a:gd name="T21" fmla="*/ 193 h 201"/>
                <a:gd name="T22" fmla="*/ 154 w 159"/>
                <a:gd name="T23" fmla="*/ 172 h 201"/>
                <a:gd name="T24" fmla="*/ 129 w 159"/>
                <a:gd name="T25" fmla="*/ 147 h 201"/>
                <a:gd name="T26" fmla="*/ 108 w 159"/>
                <a:gd name="T27" fmla="*/ 160 h 201"/>
                <a:gd name="T28" fmla="*/ 85 w 159"/>
                <a:gd name="T29" fmla="*/ 164 h 201"/>
                <a:gd name="T30" fmla="*/ 49 w 159"/>
                <a:gd name="T31" fmla="*/ 152 h 201"/>
                <a:gd name="T32" fmla="*/ 36 w 159"/>
                <a:gd name="T33" fmla="*/ 116 h 201"/>
                <a:gd name="T34" fmla="*/ 159 w 159"/>
                <a:gd name="T35" fmla="*/ 116 h 201"/>
                <a:gd name="T36" fmla="*/ 159 w 159"/>
                <a:gd name="T37" fmla="*/ 103 h 201"/>
                <a:gd name="T38" fmla="*/ 150 w 159"/>
                <a:gd name="T39" fmla="*/ 48 h 201"/>
                <a:gd name="T40" fmla="*/ 124 w 159"/>
                <a:gd name="T41" fmla="*/ 13 h 201"/>
                <a:gd name="T42" fmla="*/ 37 w 159"/>
                <a:gd name="T43" fmla="*/ 85 h 201"/>
                <a:gd name="T44" fmla="*/ 48 w 159"/>
                <a:gd name="T45" fmla="*/ 49 h 201"/>
                <a:gd name="T46" fmla="*/ 82 w 159"/>
                <a:gd name="T47" fmla="*/ 35 h 201"/>
                <a:gd name="T48" fmla="*/ 110 w 159"/>
                <a:gd name="T49" fmla="*/ 48 h 201"/>
                <a:gd name="T50" fmla="*/ 123 w 159"/>
                <a:gd name="T51" fmla="*/ 85 h 201"/>
                <a:gd name="T52" fmla="*/ 37 w 159"/>
                <a:gd name="T53" fmla="*/ 85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9" h="201">
                  <a:moveTo>
                    <a:pt x="124" y="13"/>
                  </a:moveTo>
                  <a:cubicBezTo>
                    <a:pt x="112" y="4"/>
                    <a:pt x="98" y="0"/>
                    <a:pt x="82" y="0"/>
                  </a:cubicBezTo>
                  <a:cubicBezTo>
                    <a:pt x="65" y="0"/>
                    <a:pt x="50" y="4"/>
                    <a:pt x="38" y="11"/>
                  </a:cubicBezTo>
                  <a:cubicBezTo>
                    <a:pt x="25" y="18"/>
                    <a:pt x="16" y="29"/>
                    <a:pt x="9" y="42"/>
                  </a:cubicBezTo>
                  <a:cubicBezTo>
                    <a:pt x="3" y="56"/>
                    <a:pt x="0" y="72"/>
                    <a:pt x="0" y="92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32"/>
                    <a:pt x="3" y="148"/>
                    <a:pt x="10" y="161"/>
                  </a:cubicBezTo>
                  <a:cubicBezTo>
                    <a:pt x="17" y="174"/>
                    <a:pt x="26" y="184"/>
                    <a:pt x="39" y="191"/>
                  </a:cubicBezTo>
                  <a:cubicBezTo>
                    <a:pt x="52" y="198"/>
                    <a:pt x="58" y="201"/>
                    <a:pt x="58" y="201"/>
                  </a:cubicBezTo>
                  <a:cubicBezTo>
                    <a:pt x="58" y="201"/>
                    <a:pt x="67" y="201"/>
                    <a:pt x="85" y="201"/>
                  </a:cubicBezTo>
                  <a:cubicBezTo>
                    <a:pt x="97" y="201"/>
                    <a:pt x="109" y="198"/>
                    <a:pt x="121" y="193"/>
                  </a:cubicBezTo>
                  <a:cubicBezTo>
                    <a:pt x="134" y="188"/>
                    <a:pt x="144" y="181"/>
                    <a:pt x="154" y="172"/>
                  </a:cubicBezTo>
                  <a:cubicBezTo>
                    <a:pt x="129" y="147"/>
                    <a:pt x="129" y="147"/>
                    <a:pt x="129" y="147"/>
                  </a:cubicBezTo>
                  <a:cubicBezTo>
                    <a:pt x="123" y="152"/>
                    <a:pt x="116" y="157"/>
                    <a:pt x="108" y="160"/>
                  </a:cubicBezTo>
                  <a:cubicBezTo>
                    <a:pt x="101" y="163"/>
                    <a:pt x="93" y="164"/>
                    <a:pt x="85" y="164"/>
                  </a:cubicBezTo>
                  <a:cubicBezTo>
                    <a:pt x="70" y="164"/>
                    <a:pt x="58" y="160"/>
                    <a:pt x="49" y="152"/>
                  </a:cubicBezTo>
                  <a:cubicBezTo>
                    <a:pt x="41" y="143"/>
                    <a:pt x="37" y="131"/>
                    <a:pt x="36" y="116"/>
                  </a:cubicBezTo>
                  <a:cubicBezTo>
                    <a:pt x="159" y="116"/>
                    <a:pt x="159" y="116"/>
                    <a:pt x="159" y="116"/>
                  </a:cubicBezTo>
                  <a:cubicBezTo>
                    <a:pt x="159" y="103"/>
                    <a:pt x="159" y="103"/>
                    <a:pt x="159" y="103"/>
                  </a:cubicBezTo>
                  <a:cubicBezTo>
                    <a:pt x="159" y="82"/>
                    <a:pt x="156" y="63"/>
                    <a:pt x="150" y="48"/>
                  </a:cubicBezTo>
                  <a:cubicBezTo>
                    <a:pt x="144" y="32"/>
                    <a:pt x="135" y="21"/>
                    <a:pt x="124" y="13"/>
                  </a:cubicBezTo>
                  <a:close/>
                  <a:moveTo>
                    <a:pt x="37" y="85"/>
                  </a:moveTo>
                  <a:cubicBezTo>
                    <a:pt x="37" y="70"/>
                    <a:pt x="41" y="58"/>
                    <a:pt x="48" y="49"/>
                  </a:cubicBezTo>
                  <a:cubicBezTo>
                    <a:pt x="56" y="40"/>
                    <a:pt x="67" y="35"/>
                    <a:pt x="82" y="35"/>
                  </a:cubicBezTo>
                  <a:cubicBezTo>
                    <a:pt x="94" y="35"/>
                    <a:pt x="103" y="39"/>
                    <a:pt x="110" y="48"/>
                  </a:cubicBezTo>
                  <a:cubicBezTo>
                    <a:pt x="117" y="57"/>
                    <a:pt x="121" y="69"/>
                    <a:pt x="123" y="85"/>
                  </a:cubicBezTo>
                  <a:lnTo>
                    <a:pt x="37" y="85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5" name="Freeform 16"/>
            <p:cNvSpPr>
              <a:spLocks/>
            </p:cNvSpPr>
            <p:nvPr/>
          </p:nvSpPr>
          <p:spPr bwMode="auto">
            <a:xfrm>
              <a:off x="6932737" y="-417570"/>
              <a:ext cx="673100" cy="495300"/>
            </a:xfrm>
            <a:custGeom>
              <a:avLst/>
              <a:gdLst>
                <a:gd name="T0" fmla="*/ 240 w 271"/>
                <a:gd name="T1" fmla="*/ 10 h 198"/>
                <a:gd name="T2" fmla="*/ 205 w 271"/>
                <a:gd name="T3" fmla="*/ 0 h 198"/>
                <a:gd name="T4" fmla="*/ 171 w 271"/>
                <a:gd name="T5" fmla="*/ 11 h 198"/>
                <a:gd name="T6" fmla="*/ 148 w 271"/>
                <a:gd name="T7" fmla="*/ 39 h 198"/>
                <a:gd name="T8" fmla="*/ 147 w 271"/>
                <a:gd name="T9" fmla="*/ 37 h 198"/>
                <a:gd name="T10" fmla="*/ 125 w 271"/>
                <a:gd name="T11" fmla="*/ 10 h 198"/>
                <a:gd name="T12" fmla="*/ 90 w 271"/>
                <a:gd name="T13" fmla="*/ 0 h 198"/>
                <a:gd name="T14" fmla="*/ 58 w 271"/>
                <a:gd name="T15" fmla="*/ 10 h 198"/>
                <a:gd name="T16" fmla="*/ 38 w 271"/>
                <a:gd name="T17" fmla="*/ 31 h 198"/>
                <a:gd name="T18" fmla="*/ 38 w 271"/>
                <a:gd name="T19" fmla="*/ 3 h 198"/>
                <a:gd name="T20" fmla="*/ 0 w 271"/>
                <a:gd name="T21" fmla="*/ 3 h 198"/>
                <a:gd name="T22" fmla="*/ 0 w 271"/>
                <a:gd name="T23" fmla="*/ 198 h 198"/>
                <a:gd name="T24" fmla="*/ 38 w 271"/>
                <a:gd name="T25" fmla="*/ 198 h 198"/>
                <a:gd name="T26" fmla="*/ 38 w 271"/>
                <a:gd name="T27" fmla="*/ 75 h 198"/>
                <a:gd name="T28" fmla="*/ 48 w 271"/>
                <a:gd name="T29" fmla="*/ 47 h 198"/>
                <a:gd name="T30" fmla="*/ 77 w 271"/>
                <a:gd name="T31" fmla="*/ 37 h 198"/>
                <a:gd name="T32" fmla="*/ 106 w 271"/>
                <a:gd name="T33" fmla="*/ 48 h 198"/>
                <a:gd name="T34" fmla="*/ 116 w 271"/>
                <a:gd name="T35" fmla="*/ 80 h 198"/>
                <a:gd name="T36" fmla="*/ 116 w 271"/>
                <a:gd name="T37" fmla="*/ 198 h 198"/>
                <a:gd name="T38" fmla="*/ 155 w 271"/>
                <a:gd name="T39" fmla="*/ 198 h 198"/>
                <a:gd name="T40" fmla="*/ 155 w 271"/>
                <a:gd name="T41" fmla="*/ 80 h 198"/>
                <a:gd name="T42" fmla="*/ 154 w 271"/>
                <a:gd name="T43" fmla="*/ 78 h 198"/>
                <a:gd name="T44" fmla="*/ 155 w 271"/>
                <a:gd name="T45" fmla="*/ 78 h 198"/>
                <a:gd name="T46" fmla="*/ 164 w 271"/>
                <a:gd name="T47" fmla="*/ 48 h 198"/>
                <a:gd name="T48" fmla="*/ 192 w 271"/>
                <a:gd name="T49" fmla="*/ 37 h 198"/>
                <a:gd name="T50" fmla="*/ 222 w 271"/>
                <a:gd name="T51" fmla="*/ 48 h 198"/>
                <a:gd name="T52" fmla="*/ 233 w 271"/>
                <a:gd name="T53" fmla="*/ 80 h 198"/>
                <a:gd name="T54" fmla="*/ 233 w 271"/>
                <a:gd name="T55" fmla="*/ 198 h 198"/>
                <a:gd name="T56" fmla="*/ 271 w 271"/>
                <a:gd name="T57" fmla="*/ 198 h 198"/>
                <a:gd name="T58" fmla="*/ 271 w 271"/>
                <a:gd name="T59" fmla="*/ 80 h 198"/>
                <a:gd name="T60" fmla="*/ 263 w 271"/>
                <a:gd name="T61" fmla="*/ 37 h 198"/>
                <a:gd name="T62" fmla="*/ 240 w 271"/>
                <a:gd name="T63" fmla="*/ 1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1" h="198">
                  <a:moveTo>
                    <a:pt x="240" y="10"/>
                  </a:moveTo>
                  <a:cubicBezTo>
                    <a:pt x="231" y="3"/>
                    <a:pt x="219" y="0"/>
                    <a:pt x="205" y="0"/>
                  </a:cubicBezTo>
                  <a:cubicBezTo>
                    <a:pt x="192" y="0"/>
                    <a:pt x="181" y="4"/>
                    <a:pt x="171" y="11"/>
                  </a:cubicBezTo>
                  <a:cubicBezTo>
                    <a:pt x="162" y="18"/>
                    <a:pt x="154" y="27"/>
                    <a:pt x="148" y="39"/>
                  </a:cubicBezTo>
                  <a:cubicBezTo>
                    <a:pt x="147" y="39"/>
                    <a:pt x="147" y="38"/>
                    <a:pt x="147" y="37"/>
                  </a:cubicBezTo>
                  <a:cubicBezTo>
                    <a:pt x="142" y="25"/>
                    <a:pt x="135" y="16"/>
                    <a:pt x="125" y="10"/>
                  </a:cubicBezTo>
                  <a:cubicBezTo>
                    <a:pt x="115" y="3"/>
                    <a:pt x="104" y="0"/>
                    <a:pt x="90" y="0"/>
                  </a:cubicBezTo>
                  <a:cubicBezTo>
                    <a:pt x="78" y="0"/>
                    <a:pt x="67" y="4"/>
                    <a:pt x="58" y="10"/>
                  </a:cubicBezTo>
                  <a:cubicBezTo>
                    <a:pt x="50" y="15"/>
                    <a:pt x="44" y="22"/>
                    <a:pt x="38" y="31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38" y="198"/>
                    <a:pt x="38" y="198"/>
                    <a:pt x="38" y="198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8" y="63"/>
                    <a:pt x="42" y="53"/>
                    <a:pt x="48" y="47"/>
                  </a:cubicBezTo>
                  <a:cubicBezTo>
                    <a:pt x="55" y="40"/>
                    <a:pt x="65" y="37"/>
                    <a:pt x="77" y="37"/>
                  </a:cubicBezTo>
                  <a:cubicBezTo>
                    <a:pt x="90" y="37"/>
                    <a:pt x="99" y="41"/>
                    <a:pt x="106" y="48"/>
                  </a:cubicBezTo>
                  <a:cubicBezTo>
                    <a:pt x="113" y="56"/>
                    <a:pt x="116" y="66"/>
                    <a:pt x="116" y="80"/>
                  </a:cubicBezTo>
                  <a:cubicBezTo>
                    <a:pt x="116" y="198"/>
                    <a:pt x="116" y="198"/>
                    <a:pt x="116" y="198"/>
                  </a:cubicBezTo>
                  <a:cubicBezTo>
                    <a:pt x="155" y="198"/>
                    <a:pt x="155" y="198"/>
                    <a:pt x="155" y="198"/>
                  </a:cubicBezTo>
                  <a:cubicBezTo>
                    <a:pt x="155" y="80"/>
                    <a:pt x="155" y="80"/>
                    <a:pt x="155" y="80"/>
                  </a:cubicBezTo>
                  <a:cubicBezTo>
                    <a:pt x="155" y="79"/>
                    <a:pt x="154" y="78"/>
                    <a:pt x="154" y="78"/>
                  </a:cubicBezTo>
                  <a:cubicBezTo>
                    <a:pt x="155" y="78"/>
                    <a:pt x="155" y="78"/>
                    <a:pt x="155" y="78"/>
                  </a:cubicBezTo>
                  <a:cubicBezTo>
                    <a:pt x="155" y="65"/>
                    <a:pt x="158" y="55"/>
                    <a:pt x="164" y="48"/>
                  </a:cubicBezTo>
                  <a:cubicBezTo>
                    <a:pt x="171" y="40"/>
                    <a:pt x="180" y="37"/>
                    <a:pt x="192" y="37"/>
                  </a:cubicBezTo>
                  <a:cubicBezTo>
                    <a:pt x="205" y="37"/>
                    <a:pt x="215" y="41"/>
                    <a:pt x="222" y="48"/>
                  </a:cubicBezTo>
                  <a:cubicBezTo>
                    <a:pt x="229" y="56"/>
                    <a:pt x="233" y="66"/>
                    <a:pt x="233" y="80"/>
                  </a:cubicBezTo>
                  <a:cubicBezTo>
                    <a:pt x="233" y="198"/>
                    <a:pt x="233" y="198"/>
                    <a:pt x="233" y="198"/>
                  </a:cubicBezTo>
                  <a:cubicBezTo>
                    <a:pt x="271" y="198"/>
                    <a:pt x="271" y="198"/>
                    <a:pt x="271" y="198"/>
                  </a:cubicBezTo>
                  <a:cubicBezTo>
                    <a:pt x="271" y="80"/>
                    <a:pt x="271" y="80"/>
                    <a:pt x="271" y="80"/>
                  </a:cubicBezTo>
                  <a:cubicBezTo>
                    <a:pt x="271" y="63"/>
                    <a:pt x="268" y="49"/>
                    <a:pt x="263" y="37"/>
                  </a:cubicBezTo>
                  <a:cubicBezTo>
                    <a:pt x="258" y="25"/>
                    <a:pt x="250" y="16"/>
                    <a:pt x="240" y="1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6" name="Freeform 17"/>
            <p:cNvSpPr>
              <a:spLocks noEditPoints="1"/>
            </p:cNvSpPr>
            <p:nvPr/>
          </p:nvSpPr>
          <p:spPr bwMode="auto">
            <a:xfrm>
              <a:off x="7851900" y="-417570"/>
              <a:ext cx="393700" cy="503238"/>
            </a:xfrm>
            <a:custGeom>
              <a:avLst/>
              <a:gdLst>
                <a:gd name="T0" fmla="*/ 124 w 159"/>
                <a:gd name="T1" fmla="*/ 13 h 201"/>
                <a:gd name="T2" fmla="*/ 82 w 159"/>
                <a:gd name="T3" fmla="*/ 0 h 201"/>
                <a:gd name="T4" fmla="*/ 38 w 159"/>
                <a:gd name="T5" fmla="*/ 11 h 201"/>
                <a:gd name="T6" fmla="*/ 9 w 159"/>
                <a:gd name="T7" fmla="*/ 42 h 201"/>
                <a:gd name="T8" fmla="*/ 0 w 159"/>
                <a:gd name="T9" fmla="*/ 92 h 201"/>
                <a:gd name="T10" fmla="*/ 0 w 159"/>
                <a:gd name="T11" fmla="*/ 114 h 201"/>
                <a:gd name="T12" fmla="*/ 10 w 159"/>
                <a:gd name="T13" fmla="*/ 161 h 201"/>
                <a:gd name="T14" fmla="*/ 39 w 159"/>
                <a:gd name="T15" fmla="*/ 191 h 201"/>
                <a:gd name="T16" fmla="*/ 58 w 159"/>
                <a:gd name="T17" fmla="*/ 201 h 201"/>
                <a:gd name="T18" fmla="*/ 85 w 159"/>
                <a:gd name="T19" fmla="*/ 201 h 201"/>
                <a:gd name="T20" fmla="*/ 121 w 159"/>
                <a:gd name="T21" fmla="*/ 193 h 201"/>
                <a:gd name="T22" fmla="*/ 154 w 159"/>
                <a:gd name="T23" fmla="*/ 172 h 201"/>
                <a:gd name="T24" fmla="*/ 129 w 159"/>
                <a:gd name="T25" fmla="*/ 147 h 201"/>
                <a:gd name="T26" fmla="*/ 108 w 159"/>
                <a:gd name="T27" fmla="*/ 160 h 201"/>
                <a:gd name="T28" fmla="*/ 85 w 159"/>
                <a:gd name="T29" fmla="*/ 164 h 201"/>
                <a:gd name="T30" fmla="*/ 49 w 159"/>
                <a:gd name="T31" fmla="*/ 152 h 201"/>
                <a:gd name="T32" fmla="*/ 36 w 159"/>
                <a:gd name="T33" fmla="*/ 116 h 201"/>
                <a:gd name="T34" fmla="*/ 159 w 159"/>
                <a:gd name="T35" fmla="*/ 116 h 201"/>
                <a:gd name="T36" fmla="*/ 159 w 159"/>
                <a:gd name="T37" fmla="*/ 103 h 201"/>
                <a:gd name="T38" fmla="*/ 150 w 159"/>
                <a:gd name="T39" fmla="*/ 48 h 201"/>
                <a:gd name="T40" fmla="*/ 124 w 159"/>
                <a:gd name="T41" fmla="*/ 13 h 201"/>
                <a:gd name="T42" fmla="*/ 37 w 159"/>
                <a:gd name="T43" fmla="*/ 85 h 201"/>
                <a:gd name="T44" fmla="*/ 48 w 159"/>
                <a:gd name="T45" fmla="*/ 49 h 201"/>
                <a:gd name="T46" fmla="*/ 82 w 159"/>
                <a:gd name="T47" fmla="*/ 35 h 201"/>
                <a:gd name="T48" fmla="*/ 110 w 159"/>
                <a:gd name="T49" fmla="*/ 48 h 201"/>
                <a:gd name="T50" fmla="*/ 123 w 159"/>
                <a:gd name="T51" fmla="*/ 85 h 201"/>
                <a:gd name="T52" fmla="*/ 37 w 159"/>
                <a:gd name="T53" fmla="*/ 85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9" h="201">
                  <a:moveTo>
                    <a:pt x="124" y="13"/>
                  </a:moveTo>
                  <a:cubicBezTo>
                    <a:pt x="112" y="4"/>
                    <a:pt x="98" y="0"/>
                    <a:pt x="82" y="0"/>
                  </a:cubicBezTo>
                  <a:cubicBezTo>
                    <a:pt x="65" y="0"/>
                    <a:pt x="50" y="4"/>
                    <a:pt x="38" y="11"/>
                  </a:cubicBezTo>
                  <a:cubicBezTo>
                    <a:pt x="25" y="18"/>
                    <a:pt x="16" y="29"/>
                    <a:pt x="9" y="42"/>
                  </a:cubicBezTo>
                  <a:cubicBezTo>
                    <a:pt x="3" y="56"/>
                    <a:pt x="0" y="72"/>
                    <a:pt x="0" y="92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32"/>
                    <a:pt x="3" y="148"/>
                    <a:pt x="10" y="161"/>
                  </a:cubicBezTo>
                  <a:cubicBezTo>
                    <a:pt x="17" y="174"/>
                    <a:pt x="26" y="184"/>
                    <a:pt x="39" y="191"/>
                  </a:cubicBezTo>
                  <a:cubicBezTo>
                    <a:pt x="52" y="198"/>
                    <a:pt x="58" y="201"/>
                    <a:pt x="58" y="201"/>
                  </a:cubicBezTo>
                  <a:cubicBezTo>
                    <a:pt x="58" y="201"/>
                    <a:pt x="67" y="201"/>
                    <a:pt x="85" y="201"/>
                  </a:cubicBezTo>
                  <a:cubicBezTo>
                    <a:pt x="97" y="201"/>
                    <a:pt x="109" y="198"/>
                    <a:pt x="121" y="193"/>
                  </a:cubicBezTo>
                  <a:cubicBezTo>
                    <a:pt x="133" y="188"/>
                    <a:pt x="144" y="181"/>
                    <a:pt x="154" y="172"/>
                  </a:cubicBezTo>
                  <a:cubicBezTo>
                    <a:pt x="129" y="147"/>
                    <a:pt x="129" y="147"/>
                    <a:pt x="129" y="147"/>
                  </a:cubicBezTo>
                  <a:cubicBezTo>
                    <a:pt x="123" y="152"/>
                    <a:pt x="116" y="157"/>
                    <a:pt x="108" y="160"/>
                  </a:cubicBezTo>
                  <a:cubicBezTo>
                    <a:pt x="101" y="163"/>
                    <a:pt x="93" y="164"/>
                    <a:pt x="85" y="164"/>
                  </a:cubicBezTo>
                  <a:cubicBezTo>
                    <a:pt x="70" y="164"/>
                    <a:pt x="57" y="160"/>
                    <a:pt x="49" y="152"/>
                  </a:cubicBezTo>
                  <a:cubicBezTo>
                    <a:pt x="41" y="143"/>
                    <a:pt x="37" y="131"/>
                    <a:pt x="36" y="116"/>
                  </a:cubicBezTo>
                  <a:cubicBezTo>
                    <a:pt x="159" y="116"/>
                    <a:pt x="159" y="116"/>
                    <a:pt x="159" y="116"/>
                  </a:cubicBezTo>
                  <a:cubicBezTo>
                    <a:pt x="159" y="103"/>
                    <a:pt x="159" y="103"/>
                    <a:pt x="159" y="103"/>
                  </a:cubicBezTo>
                  <a:cubicBezTo>
                    <a:pt x="159" y="82"/>
                    <a:pt x="156" y="63"/>
                    <a:pt x="150" y="48"/>
                  </a:cubicBezTo>
                  <a:cubicBezTo>
                    <a:pt x="144" y="32"/>
                    <a:pt x="135" y="21"/>
                    <a:pt x="124" y="13"/>
                  </a:cubicBezTo>
                  <a:close/>
                  <a:moveTo>
                    <a:pt x="37" y="85"/>
                  </a:moveTo>
                  <a:cubicBezTo>
                    <a:pt x="37" y="70"/>
                    <a:pt x="41" y="58"/>
                    <a:pt x="48" y="49"/>
                  </a:cubicBezTo>
                  <a:cubicBezTo>
                    <a:pt x="56" y="40"/>
                    <a:pt x="67" y="35"/>
                    <a:pt x="82" y="35"/>
                  </a:cubicBezTo>
                  <a:cubicBezTo>
                    <a:pt x="94" y="35"/>
                    <a:pt x="103" y="39"/>
                    <a:pt x="110" y="48"/>
                  </a:cubicBezTo>
                  <a:cubicBezTo>
                    <a:pt x="117" y="57"/>
                    <a:pt x="121" y="69"/>
                    <a:pt x="123" y="85"/>
                  </a:cubicBezTo>
                  <a:lnTo>
                    <a:pt x="37" y="85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7" name="Freeform 18"/>
            <p:cNvSpPr>
              <a:spLocks/>
            </p:cNvSpPr>
            <p:nvPr/>
          </p:nvSpPr>
          <p:spPr bwMode="auto">
            <a:xfrm>
              <a:off x="8491662" y="-417570"/>
              <a:ext cx="387350" cy="495300"/>
            </a:xfrm>
            <a:custGeom>
              <a:avLst/>
              <a:gdLst>
                <a:gd name="T0" fmla="*/ 90 w 156"/>
                <a:gd name="T1" fmla="*/ 0 h 198"/>
                <a:gd name="T2" fmla="*/ 58 w 156"/>
                <a:gd name="T3" fmla="*/ 10 h 198"/>
                <a:gd name="T4" fmla="*/ 38 w 156"/>
                <a:gd name="T5" fmla="*/ 31 h 198"/>
                <a:gd name="T6" fmla="*/ 38 w 156"/>
                <a:gd name="T7" fmla="*/ 3 h 198"/>
                <a:gd name="T8" fmla="*/ 0 w 156"/>
                <a:gd name="T9" fmla="*/ 3 h 198"/>
                <a:gd name="T10" fmla="*/ 0 w 156"/>
                <a:gd name="T11" fmla="*/ 198 h 198"/>
                <a:gd name="T12" fmla="*/ 38 w 156"/>
                <a:gd name="T13" fmla="*/ 198 h 198"/>
                <a:gd name="T14" fmla="*/ 38 w 156"/>
                <a:gd name="T15" fmla="*/ 75 h 198"/>
                <a:gd name="T16" fmla="*/ 48 w 156"/>
                <a:gd name="T17" fmla="*/ 47 h 198"/>
                <a:gd name="T18" fmla="*/ 77 w 156"/>
                <a:gd name="T19" fmla="*/ 37 h 198"/>
                <a:gd name="T20" fmla="*/ 107 w 156"/>
                <a:gd name="T21" fmla="*/ 48 h 198"/>
                <a:gd name="T22" fmla="*/ 118 w 156"/>
                <a:gd name="T23" fmla="*/ 80 h 198"/>
                <a:gd name="T24" fmla="*/ 118 w 156"/>
                <a:gd name="T25" fmla="*/ 198 h 198"/>
                <a:gd name="T26" fmla="*/ 156 w 156"/>
                <a:gd name="T27" fmla="*/ 198 h 198"/>
                <a:gd name="T28" fmla="*/ 156 w 156"/>
                <a:gd name="T29" fmla="*/ 80 h 198"/>
                <a:gd name="T30" fmla="*/ 139 w 156"/>
                <a:gd name="T31" fmla="*/ 21 h 198"/>
                <a:gd name="T32" fmla="*/ 90 w 156"/>
                <a:gd name="T33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6" h="198">
                  <a:moveTo>
                    <a:pt x="90" y="0"/>
                  </a:moveTo>
                  <a:cubicBezTo>
                    <a:pt x="78" y="0"/>
                    <a:pt x="67" y="4"/>
                    <a:pt x="58" y="10"/>
                  </a:cubicBezTo>
                  <a:cubicBezTo>
                    <a:pt x="50" y="15"/>
                    <a:pt x="44" y="22"/>
                    <a:pt x="38" y="31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38" y="198"/>
                    <a:pt x="38" y="198"/>
                    <a:pt x="38" y="198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8" y="63"/>
                    <a:pt x="41" y="53"/>
                    <a:pt x="48" y="47"/>
                  </a:cubicBezTo>
                  <a:cubicBezTo>
                    <a:pt x="55" y="40"/>
                    <a:pt x="65" y="37"/>
                    <a:pt x="77" y="37"/>
                  </a:cubicBezTo>
                  <a:cubicBezTo>
                    <a:pt x="90" y="37"/>
                    <a:pt x="100" y="41"/>
                    <a:pt x="107" y="48"/>
                  </a:cubicBezTo>
                  <a:cubicBezTo>
                    <a:pt x="115" y="56"/>
                    <a:pt x="118" y="66"/>
                    <a:pt x="118" y="80"/>
                  </a:cubicBezTo>
                  <a:cubicBezTo>
                    <a:pt x="118" y="198"/>
                    <a:pt x="118" y="198"/>
                    <a:pt x="118" y="198"/>
                  </a:cubicBezTo>
                  <a:cubicBezTo>
                    <a:pt x="156" y="198"/>
                    <a:pt x="156" y="198"/>
                    <a:pt x="156" y="198"/>
                  </a:cubicBezTo>
                  <a:cubicBezTo>
                    <a:pt x="156" y="80"/>
                    <a:pt x="156" y="80"/>
                    <a:pt x="156" y="80"/>
                  </a:cubicBezTo>
                  <a:cubicBezTo>
                    <a:pt x="156" y="54"/>
                    <a:pt x="151" y="35"/>
                    <a:pt x="139" y="21"/>
                  </a:cubicBezTo>
                  <a:cubicBezTo>
                    <a:pt x="127" y="7"/>
                    <a:pt x="111" y="0"/>
                    <a:pt x="90" y="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8" name="Freeform 19"/>
            <p:cNvSpPr>
              <a:spLocks/>
            </p:cNvSpPr>
            <p:nvPr/>
          </p:nvSpPr>
          <p:spPr bwMode="auto">
            <a:xfrm>
              <a:off x="9102850" y="-552507"/>
              <a:ext cx="217488" cy="633413"/>
            </a:xfrm>
            <a:custGeom>
              <a:avLst/>
              <a:gdLst>
                <a:gd name="T0" fmla="*/ 88 w 88"/>
                <a:gd name="T1" fmla="*/ 92 h 253"/>
                <a:gd name="T2" fmla="*/ 88 w 88"/>
                <a:gd name="T3" fmla="*/ 57 h 253"/>
                <a:gd name="T4" fmla="*/ 58 w 88"/>
                <a:gd name="T5" fmla="*/ 57 h 253"/>
                <a:gd name="T6" fmla="*/ 58 w 88"/>
                <a:gd name="T7" fmla="*/ 0 h 253"/>
                <a:gd name="T8" fmla="*/ 20 w 88"/>
                <a:gd name="T9" fmla="*/ 0 h 253"/>
                <a:gd name="T10" fmla="*/ 20 w 88"/>
                <a:gd name="T11" fmla="*/ 57 h 253"/>
                <a:gd name="T12" fmla="*/ 0 w 88"/>
                <a:gd name="T13" fmla="*/ 57 h 253"/>
                <a:gd name="T14" fmla="*/ 0 w 88"/>
                <a:gd name="T15" fmla="*/ 92 h 253"/>
                <a:gd name="T16" fmla="*/ 20 w 88"/>
                <a:gd name="T17" fmla="*/ 92 h 253"/>
                <a:gd name="T18" fmla="*/ 20 w 88"/>
                <a:gd name="T19" fmla="*/ 201 h 253"/>
                <a:gd name="T20" fmla="*/ 31 w 88"/>
                <a:gd name="T21" fmla="*/ 240 h 253"/>
                <a:gd name="T22" fmla="*/ 66 w 88"/>
                <a:gd name="T23" fmla="*/ 253 h 253"/>
                <a:gd name="T24" fmla="*/ 88 w 88"/>
                <a:gd name="T25" fmla="*/ 253 h 253"/>
                <a:gd name="T26" fmla="*/ 88 w 88"/>
                <a:gd name="T27" fmla="*/ 217 h 253"/>
                <a:gd name="T28" fmla="*/ 69 w 88"/>
                <a:gd name="T29" fmla="*/ 217 h 253"/>
                <a:gd name="T30" fmla="*/ 61 w 88"/>
                <a:gd name="T31" fmla="*/ 213 h 253"/>
                <a:gd name="T32" fmla="*/ 58 w 88"/>
                <a:gd name="T33" fmla="*/ 202 h 253"/>
                <a:gd name="T34" fmla="*/ 58 w 88"/>
                <a:gd name="T35" fmla="*/ 92 h 253"/>
                <a:gd name="T36" fmla="*/ 88 w 88"/>
                <a:gd name="T37" fmla="*/ 9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8" h="253">
                  <a:moveTo>
                    <a:pt x="88" y="92"/>
                  </a:moveTo>
                  <a:cubicBezTo>
                    <a:pt x="88" y="57"/>
                    <a:pt x="88" y="57"/>
                    <a:pt x="88" y="57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20" y="92"/>
                    <a:pt x="20" y="92"/>
                    <a:pt x="20" y="92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0" y="218"/>
                    <a:pt x="24" y="231"/>
                    <a:pt x="31" y="240"/>
                  </a:cubicBezTo>
                  <a:cubicBezTo>
                    <a:pt x="38" y="249"/>
                    <a:pt x="50" y="253"/>
                    <a:pt x="66" y="253"/>
                  </a:cubicBezTo>
                  <a:cubicBezTo>
                    <a:pt x="88" y="253"/>
                    <a:pt x="88" y="253"/>
                    <a:pt x="88" y="253"/>
                  </a:cubicBezTo>
                  <a:cubicBezTo>
                    <a:pt x="88" y="217"/>
                    <a:pt x="88" y="217"/>
                    <a:pt x="88" y="217"/>
                  </a:cubicBezTo>
                  <a:cubicBezTo>
                    <a:pt x="69" y="217"/>
                    <a:pt x="69" y="217"/>
                    <a:pt x="69" y="217"/>
                  </a:cubicBezTo>
                  <a:cubicBezTo>
                    <a:pt x="66" y="217"/>
                    <a:pt x="63" y="215"/>
                    <a:pt x="61" y="213"/>
                  </a:cubicBezTo>
                  <a:cubicBezTo>
                    <a:pt x="59" y="210"/>
                    <a:pt x="58" y="207"/>
                    <a:pt x="58" y="202"/>
                  </a:cubicBezTo>
                  <a:cubicBezTo>
                    <a:pt x="58" y="92"/>
                    <a:pt x="58" y="92"/>
                    <a:pt x="58" y="92"/>
                  </a:cubicBezTo>
                  <a:lnTo>
                    <a:pt x="88" y="92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</p:grpSp>
    </p:spTree>
    <p:extLst>
      <p:ext uri="{BB962C8B-B14F-4D97-AF65-F5344CB8AC3E}">
        <p14:creationId xmlns:p14="http://schemas.microsoft.com/office/powerpoint/2010/main" val="333890592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表紙：LA6_16_9_Onscreen（iso）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sp>
        <p:nvSpPr>
          <p:cNvPr id="25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pic>
        <p:nvPicPr>
          <p:cNvPr id="26" name="図 2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9277" y="5527551"/>
            <a:ext cx="2022302" cy="516581"/>
          </a:xfrm>
          <a:prstGeom prst="rect">
            <a:avLst/>
          </a:prstGeom>
        </p:spPr>
      </p:pic>
      <p:sp>
        <p:nvSpPr>
          <p:cNvPr id="27" name="表紙サブタイトル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4420" y="3898245"/>
            <a:ext cx="4596587" cy="28803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33">
                <a:solidFill>
                  <a:schemeClr val="tx1"/>
                </a:solidFill>
              </a:defRPr>
            </a:lvl1pPr>
            <a:lvl2pPr marL="402393" indent="0" algn="ctr">
              <a:buNone/>
              <a:defRPr sz="1760"/>
            </a:lvl2pPr>
            <a:lvl3pPr marL="804784" indent="0" algn="ctr">
              <a:buNone/>
              <a:defRPr sz="1585"/>
            </a:lvl3pPr>
            <a:lvl4pPr marL="1207176" indent="0" algn="ctr">
              <a:buNone/>
              <a:defRPr sz="1408"/>
            </a:lvl4pPr>
            <a:lvl5pPr marL="1609567" indent="0" algn="ctr">
              <a:buNone/>
              <a:defRPr sz="1408"/>
            </a:lvl5pPr>
            <a:lvl6pPr marL="2011960" indent="0" algn="ctr">
              <a:buNone/>
              <a:defRPr sz="1408"/>
            </a:lvl6pPr>
            <a:lvl7pPr marL="2414352" indent="0" algn="ctr">
              <a:buNone/>
              <a:defRPr sz="1408"/>
            </a:lvl7pPr>
            <a:lvl8pPr marL="2816744" indent="0" algn="ctr">
              <a:buNone/>
              <a:defRPr sz="1408"/>
            </a:lvl8pPr>
            <a:lvl9pPr marL="3219133" indent="0" algn="ctr">
              <a:buNone/>
              <a:defRPr sz="1408"/>
            </a:lvl9pPr>
          </a:lstStyle>
          <a:p>
            <a:r>
              <a:rPr lang="ja-JP" altLang="en-US" noProof="0" dirty="0"/>
              <a:t>表紙</a:t>
            </a:r>
            <a:r>
              <a:rPr lang="ja-JP" altLang="en-US" noProof="0" dirty="0" smtClean="0"/>
              <a:t>サブタイトル（任意）／</a:t>
            </a:r>
            <a:r>
              <a:rPr lang="en-US" altLang="ja-JP" noProof="0" dirty="0" smtClean="0"/>
              <a:t>16pt</a:t>
            </a:r>
          </a:p>
        </p:txBody>
      </p:sp>
      <p:sp>
        <p:nvSpPr>
          <p:cNvPr id="28" name="表紙タイトル"/>
          <p:cNvSpPr>
            <a:spLocks noGrp="1"/>
          </p:cNvSpPr>
          <p:nvPr>
            <p:ph type="ctrTitle" hasCustomPrompt="1"/>
          </p:nvPr>
        </p:nvSpPr>
        <p:spPr bwMode="gray">
          <a:xfrm>
            <a:off x="434422" y="4234245"/>
            <a:ext cx="8028968" cy="1114968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17" b="1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 smtClean="0"/>
              <a:t>表紙タイトル／</a:t>
            </a:r>
            <a:r>
              <a:rPr lang="en-US" altLang="ja-JP" noProof="0" dirty="0" smtClean="0"/>
              <a:t>26pt </a:t>
            </a:r>
            <a:r>
              <a:rPr lang="ja-JP" altLang="en-US" noProof="0" dirty="0" smtClean="0"/>
              <a:t>太字</a:t>
            </a:r>
            <a:r>
              <a:rPr lang="en-US" altLang="ja-JP" noProof="0" dirty="0" smtClean="0"/>
              <a:t/>
            </a:r>
            <a:br>
              <a:rPr lang="en-US" altLang="ja-JP" noProof="0" dirty="0" smtClean="0"/>
            </a:br>
            <a:r>
              <a:rPr lang="ja-JP" altLang="en-US" noProof="0" dirty="0" smtClean="0"/>
              <a:t>表紙タイトル／</a:t>
            </a:r>
            <a:r>
              <a:rPr lang="en-US" altLang="ja-JP" noProof="0" dirty="0" smtClean="0"/>
              <a:t>26pt </a:t>
            </a:r>
            <a:r>
              <a:rPr lang="ja-JP" altLang="en-US" noProof="0" dirty="0" smtClean="0"/>
              <a:t>太字</a:t>
            </a:r>
            <a:endParaRPr lang="en-US" noProof="0" dirty="0"/>
          </a:p>
        </p:txBody>
      </p:sp>
      <p:sp>
        <p:nvSpPr>
          <p:cNvPr id="29" name="バージョン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49277" y="6222469"/>
            <a:ext cx="2022302" cy="206096"/>
          </a:xfrm>
          <a:prstGeom prst="rect">
            <a:avLst/>
          </a:prstGeom>
        </p:spPr>
        <p:txBody>
          <a:bodyPr wrap="square" lIns="36000" tIns="36000" rIns="36000" bIns="3600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67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 err="1" smtClean="0"/>
              <a:t>Ver.XXX</a:t>
            </a:r>
            <a:endParaRPr lang="ja-JP" altLang="en-US" dirty="0"/>
          </a:p>
        </p:txBody>
      </p:sp>
      <p:pic>
        <p:nvPicPr>
          <p:cNvPr id="35" name="図 3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27" r="1419" b="8946"/>
          <a:stretch/>
        </p:blipFill>
        <p:spPr>
          <a:xfrm>
            <a:off x="428498" y="548677"/>
            <a:ext cx="9049005" cy="3072344"/>
          </a:xfrm>
          <a:prstGeom prst="rect">
            <a:avLst/>
          </a:prstGeom>
        </p:spPr>
      </p:pic>
      <p:grpSp>
        <p:nvGrpSpPr>
          <p:cNvPr id="37" name="グループ化 36"/>
          <p:cNvGrpSpPr/>
          <p:nvPr/>
        </p:nvGrpSpPr>
        <p:grpSpPr>
          <a:xfrm>
            <a:off x="6123131" y="2372883"/>
            <a:ext cx="259689" cy="146051"/>
            <a:chOff x="2637231" y="2019300"/>
            <a:chExt cx="239713" cy="109538"/>
          </a:xfrm>
        </p:grpSpPr>
        <p:sp>
          <p:nvSpPr>
            <p:cNvPr id="38" name="Rectangle 8"/>
            <p:cNvSpPr>
              <a:spLocks noChangeArrowheads="1"/>
            </p:cNvSpPr>
            <p:nvPr/>
          </p:nvSpPr>
          <p:spPr bwMode="auto">
            <a:xfrm>
              <a:off x="2637231" y="2020888"/>
              <a:ext cx="14288" cy="10636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2689619" y="2019300"/>
              <a:ext cx="76200" cy="109538"/>
            </a:xfrm>
            <a:custGeom>
              <a:avLst/>
              <a:gdLst>
                <a:gd name="T0" fmla="*/ 176 w 443"/>
                <a:gd name="T1" fmla="*/ 620 h 620"/>
                <a:gd name="T2" fmla="*/ 137 w 443"/>
                <a:gd name="T3" fmla="*/ 611 h 620"/>
                <a:gd name="T4" fmla="*/ 64 w 443"/>
                <a:gd name="T5" fmla="*/ 586 h 620"/>
                <a:gd name="T6" fmla="*/ 0 w 443"/>
                <a:gd name="T7" fmla="*/ 544 h 620"/>
                <a:gd name="T8" fmla="*/ 53 w 443"/>
                <a:gd name="T9" fmla="*/ 479 h 620"/>
                <a:gd name="T10" fmla="*/ 130 w 443"/>
                <a:gd name="T11" fmla="*/ 524 h 620"/>
                <a:gd name="T12" fmla="*/ 220 w 443"/>
                <a:gd name="T13" fmla="*/ 539 h 620"/>
                <a:gd name="T14" fmla="*/ 323 w 443"/>
                <a:gd name="T15" fmla="*/ 515 h 620"/>
                <a:gd name="T16" fmla="*/ 359 w 443"/>
                <a:gd name="T17" fmla="*/ 446 h 620"/>
                <a:gd name="T18" fmla="*/ 359 w 443"/>
                <a:gd name="T19" fmla="*/ 445 h 620"/>
                <a:gd name="T20" fmla="*/ 342 w 443"/>
                <a:gd name="T21" fmla="*/ 395 h 620"/>
                <a:gd name="T22" fmla="*/ 300 w 443"/>
                <a:gd name="T23" fmla="*/ 368 h 620"/>
                <a:gd name="T24" fmla="*/ 232 w 443"/>
                <a:gd name="T25" fmla="*/ 351 h 620"/>
                <a:gd name="T26" fmla="*/ 230 w 443"/>
                <a:gd name="T27" fmla="*/ 351 h 620"/>
                <a:gd name="T28" fmla="*/ 227 w 443"/>
                <a:gd name="T29" fmla="*/ 350 h 620"/>
                <a:gd name="T30" fmla="*/ 221 w 443"/>
                <a:gd name="T31" fmla="*/ 349 h 620"/>
                <a:gd name="T32" fmla="*/ 122 w 443"/>
                <a:gd name="T33" fmla="*/ 326 h 620"/>
                <a:gd name="T34" fmla="*/ 56 w 443"/>
                <a:gd name="T35" fmla="*/ 278 h 620"/>
                <a:gd name="T36" fmla="*/ 29 w 443"/>
                <a:gd name="T37" fmla="*/ 178 h 620"/>
                <a:gd name="T38" fmla="*/ 29 w 443"/>
                <a:gd name="T39" fmla="*/ 178 h 620"/>
                <a:gd name="T40" fmla="*/ 54 w 443"/>
                <a:gd name="T41" fmla="*/ 82 h 620"/>
                <a:gd name="T42" fmla="*/ 128 w 443"/>
                <a:gd name="T43" fmla="*/ 21 h 620"/>
                <a:gd name="T44" fmla="*/ 244 w 443"/>
                <a:gd name="T45" fmla="*/ 0 h 620"/>
                <a:gd name="T46" fmla="*/ 309 w 443"/>
                <a:gd name="T47" fmla="*/ 7 h 620"/>
                <a:gd name="T48" fmla="*/ 371 w 443"/>
                <a:gd name="T49" fmla="*/ 28 h 620"/>
                <a:gd name="T50" fmla="*/ 431 w 443"/>
                <a:gd name="T51" fmla="*/ 64 h 620"/>
                <a:gd name="T52" fmla="*/ 383 w 443"/>
                <a:gd name="T53" fmla="*/ 131 h 620"/>
                <a:gd name="T54" fmla="*/ 314 w 443"/>
                <a:gd name="T55" fmla="*/ 93 h 620"/>
                <a:gd name="T56" fmla="*/ 244 w 443"/>
                <a:gd name="T57" fmla="*/ 80 h 620"/>
                <a:gd name="T58" fmla="*/ 148 w 443"/>
                <a:gd name="T59" fmla="*/ 105 h 620"/>
                <a:gd name="T60" fmla="*/ 113 w 443"/>
                <a:gd name="T61" fmla="*/ 175 h 620"/>
                <a:gd name="T62" fmla="*/ 113 w 443"/>
                <a:gd name="T63" fmla="*/ 176 h 620"/>
                <a:gd name="T64" fmla="*/ 131 w 443"/>
                <a:gd name="T65" fmla="*/ 225 h 620"/>
                <a:gd name="T66" fmla="*/ 175 w 443"/>
                <a:gd name="T67" fmla="*/ 252 h 620"/>
                <a:gd name="T68" fmla="*/ 249 w 443"/>
                <a:gd name="T69" fmla="*/ 269 h 620"/>
                <a:gd name="T70" fmla="*/ 252 w 443"/>
                <a:gd name="T71" fmla="*/ 270 h 620"/>
                <a:gd name="T72" fmla="*/ 255 w 443"/>
                <a:gd name="T73" fmla="*/ 271 h 620"/>
                <a:gd name="T74" fmla="*/ 260 w 443"/>
                <a:gd name="T75" fmla="*/ 271 h 620"/>
                <a:gd name="T76" fmla="*/ 265 w 443"/>
                <a:gd name="T77" fmla="*/ 272 h 620"/>
                <a:gd name="T78" fmla="*/ 357 w 443"/>
                <a:gd name="T79" fmla="*/ 299 h 620"/>
                <a:gd name="T80" fmla="*/ 418 w 443"/>
                <a:gd name="T81" fmla="*/ 349 h 620"/>
                <a:gd name="T82" fmla="*/ 443 w 443"/>
                <a:gd name="T83" fmla="*/ 443 h 620"/>
                <a:gd name="T84" fmla="*/ 443 w 443"/>
                <a:gd name="T85" fmla="*/ 444 h 620"/>
                <a:gd name="T86" fmla="*/ 417 w 443"/>
                <a:gd name="T87" fmla="*/ 539 h 620"/>
                <a:gd name="T88" fmla="*/ 341 w 443"/>
                <a:gd name="T89" fmla="*/ 599 h 620"/>
                <a:gd name="T90" fmla="*/ 220 w 443"/>
                <a:gd name="T91" fmla="*/ 620 h 620"/>
                <a:gd name="T92" fmla="*/ 176 w 443"/>
                <a:gd name="T93" fmla="*/ 62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43" h="620">
                  <a:moveTo>
                    <a:pt x="176" y="620"/>
                  </a:moveTo>
                  <a:cubicBezTo>
                    <a:pt x="176" y="620"/>
                    <a:pt x="163" y="617"/>
                    <a:pt x="137" y="611"/>
                  </a:cubicBezTo>
                  <a:cubicBezTo>
                    <a:pt x="111" y="606"/>
                    <a:pt x="87" y="597"/>
                    <a:pt x="64" y="586"/>
                  </a:cubicBezTo>
                  <a:cubicBezTo>
                    <a:pt x="41" y="575"/>
                    <a:pt x="20" y="561"/>
                    <a:pt x="0" y="544"/>
                  </a:cubicBezTo>
                  <a:cubicBezTo>
                    <a:pt x="53" y="479"/>
                    <a:pt x="53" y="479"/>
                    <a:pt x="53" y="479"/>
                  </a:cubicBezTo>
                  <a:cubicBezTo>
                    <a:pt x="76" y="499"/>
                    <a:pt x="102" y="514"/>
                    <a:pt x="130" y="524"/>
                  </a:cubicBezTo>
                  <a:cubicBezTo>
                    <a:pt x="158" y="534"/>
                    <a:pt x="188" y="539"/>
                    <a:pt x="220" y="539"/>
                  </a:cubicBezTo>
                  <a:cubicBezTo>
                    <a:pt x="264" y="539"/>
                    <a:pt x="298" y="531"/>
                    <a:pt x="323" y="515"/>
                  </a:cubicBezTo>
                  <a:cubicBezTo>
                    <a:pt x="347" y="499"/>
                    <a:pt x="359" y="476"/>
                    <a:pt x="359" y="446"/>
                  </a:cubicBezTo>
                  <a:cubicBezTo>
                    <a:pt x="359" y="445"/>
                    <a:pt x="359" y="445"/>
                    <a:pt x="359" y="445"/>
                  </a:cubicBezTo>
                  <a:cubicBezTo>
                    <a:pt x="359" y="424"/>
                    <a:pt x="353" y="408"/>
                    <a:pt x="342" y="395"/>
                  </a:cubicBezTo>
                  <a:cubicBezTo>
                    <a:pt x="331" y="383"/>
                    <a:pt x="317" y="374"/>
                    <a:pt x="300" y="368"/>
                  </a:cubicBezTo>
                  <a:cubicBezTo>
                    <a:pt x="282" y="362"/>
                    <a:pt x="260" y="356"/>
                    <a:pt x="232" y="351"/>
                  </a:cubicBezTo>
                  <a:cubicBezTo>
                    <a:pt x="232" y="351"/>
                    <a:pt x="231" y="351"/>
                    <a:pt x="230" y="351"/>
                  </a:cubicBezTo>
                  <a:cubicBezTo>
                    <a:pt x="229" y="351"/>
                    <a:pt x="228" y="351"/>
                    <a:pt x="227" y="350"/>
                  </a:cubicBezTo>
                  <a:cubicBezTo>
                    <a:pt x="221" y="349"/>
                    <a:pt x="221" y="349"/>
                    <a:pt x="221" y="349"/>
                  </a:cubicBezTo>
                  <a:cubicBezTo>
                    <a:pt x="180" y="342"/>
                    <a:pt x="147" y="334"/>
                    <a:pt x="122" y="326"/>
                  </a:cubicBezTo>
                  <a:cubicBezTo>
                    <a:pt x="96" y="317"/>
                    <a:pt x="74" y="301"/>
                    <a:pt x="56" y="278"/>
                  </a:cubicBezTo>
                  <a:cubicBezTo>
                    <a:pt x="38" y="254"/>
                    <a:pt x="29" y="221"/>
                    <a:pt x="29" y="178"/>
                  </a:cubicBezTo>
                  <a:cubicBezTo>
                    <a:pt x="29" y="178"/>
                    <a:pt x="29" y="178"/>
                    <a:pt x="29" y="178"/>
                  </a:cubicBezTo>
                  <a:cubicBezTo>
                    <a:pt x="29" y="140"/>
                    <a:pt x="38" y="108"/>
                    <a:pt x="54" y="82"/>
                  </a:cubicBezTo>
                  <a:cubicBezTo>
                    <a:pt x="71" y="55"/>
                    <a:pt x="96" y="35"/>
                    <a:pt x="128" y="21"/>
                  </a:cubicBezTo>
                  <a:cubicBezTo>
                    <a:pt x="160" y="7"/>
                    <a:pt x="199" y="0"/>
                    <a:pt x="244" y="0"/>
                  </a:cubicBezTo>
                  <a:cubicBezTo>
                    <a:pt x="266" y="0"/>
                    <a:pt x="288" y="3"/>
                    <a:pt x="309" y="7"/>
                  </a:cubicBezTo>
                  <a:cubicBezTo>
                    <a:pt x="330" y="12"/>
                    <a:pt x="350" y="19"/>
                    <a:pt x="371" y="28"/>
                  </a:cubicBezTo>
                  <a:cubicBezTo>
                    <a:pt x="391" y="38"/>
                    <a:pt x="411" y="49"/>
                    <a:pt x="431" y="64"/>
                  </a:cubicBezTo>
                  <a:cubicBezTo>
                    <a:pt x="383" y="131"/>
                    <a:pt x="383" y="131"/>
                    <a:pt x="383" y="131"/>
                  </a:cubicBezTo>
                  <a:cubicBezTo>
                    <a:pt x="360" y="114"/>
                    <a:pt x="337" y="102"/>
                    <a:pt x="314" y="93"/>
                  </a:cubicBezTo>
                  <a:cubicBezTo>
                    <a:pt x="291" y="85"/>
                    <a:pt x="268" y="80"/>
                    <a:pt x="244" y="80"/>
                  </a:cubicBezTo>
                  <a:cubicBezTo>
                    <a:pt x="203" y="80"/>
                    <a:pt x="171" y="89"/>
                    <a:pt x="148" y="105"/>
                  </a:cubicBezTo>
                  <a:cubicBezTo>
                    <a:pt x="125" y="122"/>
                    <a:pt x="113" y="145"/>
                    <a:pt x="113" y="175"/>
                  </a:cubicBezTo>
                  <a:cubicBezTo>
                    <a:pt x="113" y="176"/>
                    <a:pt x="113" y="176"/>
                    <a:pt x="113" y="176"/>
                  </a:cubicBezTo>
                  <a:cubicBezTo>
                    <a:pt x="113" y="197"/>
                    <a:pt x="119" y="213"/>
                    <a:pt x="131" y="225"/>
                  </a:cubicBezTo>
                  <a:cubicBezTo>
                    <a:pt x="143" y="237"/>
                    <a:pt x="158" y="246"/>
                    <a:pt x="175" y="252"/>
                  </a:cubicBezTo>
                  <a:cubicBezTo>
                    <a:pt x="193" y="257"/>
                    <a:pt x="218" y="263"/>
                    <a:pt x="249" y="269"/>
                  </a:cubicBezTo>
                  <a:cubicBezTo>
                    <a:pt x="250" y="270"/>
                    <a:pt x="251" y="270"/>
                    <a:pt x="252" y="270"/>
                  </a:cubicBezTo>
                  <a:cubicBezTo>
                    <a:pt x="253" y="270"/>
                    <a:pt x="254" y="270"/>
                    <a:pt x="255" y="271"/>
                  </a:cubicBezTo>
                  <a:cubicBezTo>
                    <a:pt x="257" y="271"/>
                    <a:pt x="258" y="271"/>
                    <a:pt x="260" y="271"/>
                  </a:cubicBezTo>
                  <a:cubicBezTo>
                    <a:pt x="262" y="272"/>
                    <a:pt x="263" y="272"/>
                    <a:pt x="265" y="272"/>
                  </a:cubicBezTo>
                  <a:cubicBezTo>
                    <a:pt x="301" y="280"/>
                    <a:pt x="332" y="289"/>
                    <a:pt x="357" y="299"/>
                  </a:cubicBezTo>
                  <a:cubicBezTo>
                    <a:pt x="381" y="309"/>
                    <a:pt x="402" y="326"/>
                    <a:pt x="418" y="349"/>
                  </a:cubicBezTo>
                  <a:cubicBezTo>
                    <a:pt x="435" y="372"/>
                    <a:pt x="443" y="403"/>
                    <a:pt x="443" y="443"/>
                  </a:cubicBezTo>
                  <a:cubicBezTo>
                    <a:pt x="443" y="444"/>
                    <a:pt x="443" y="444"/>
                    <a:pt x="443" y="444"/>
                  </a:cubicBezTo>
                  <a:cubicBezTo>
                    <a:pt x="443" y="481"/>
                    <a:pt x="434" y="512"/>
                    <a:pt x="417" y="539"/>
                  </a:cubicBezTo>
                  <a:cubicBezTo>
                    <a:pt x="399" y="565"/>
                    <a:pt x="374" y="585"/>
                    <a:pt x="341" y="599"/>
                  </a:cubicBezTo>
                  <a:cubicBezTo>
                    <a:pt x="307" y="613"/>
                    <a:pt x="267" y="620"/>
                    <a:pt x="220" y="620"/>
                  </a:cubicBezTo>
                  <a:cubicBezTo>
                    <a:pt x="191" y="620"/>
                    <a:pt x="176" y="620"/>
                    <a:pt x="176" y="62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40" name="Freeform 10"/>
            <p:cNvSpPr>
              <a:spLocks noEditPoints="1"/>
            </p:cNvSpPr>
            <p:nvPr/>
          </p:nvSpPr>
          <p:spPr bwMode="auto">
            <a:xfrm>
              <a:off x="2802331" y="2019300"/>
              <a:ext cx="74613" cy="109538"/>
            </a:xfrm>
            <a:custGeom>
              <a:avLst/>
              <a:gdLst>
                <a:gd name="T0" fmla="*/ 102 w 427"/>
                <a:gd name="T1" fmla="*/ 592 h 620"/>
                <a:gd name="T2" fmla="*/ 27 w 427"/>
                <a:gd name="T3" fmla="*/ 513 h 620"/>
                <a:gd name="T4" fmla="*/ 0 w 427"/>
                <a:gd name="T5" fmla="*/ 396 h 620"/>
                <a:gd name="T6" fmla="*/ 0 w 427"/>
                <a:gd name="T7" fmla="*/ 224 h 620"/>
                <a:gd name="T8" fmla="*/ 27 w 427"/>
                <a:gd name="T9" fmla="*/ 106 h 620"/>
                <a:gd name="T10" fmla="*/ 102 w 427"/>
                <a:gd name="T11" fmla="*/ 28 h 620"/>
                <a:gd name="T12" fmla="*/ 213 w 427"/>
                <a:gd name="T13" fmla="*/ 0 h 620"/>
                <a:gd name="T14" fmla="*/ 325 w 427"/>
                <a:gd name="T15" fmla="*/ 28 h 620"/>
                <a:gd name="T16" fmla="*/ 400 w 427"/>
                <a:gd name="T17" fmla="*/ 106 h 620"/>
                <a:gd name="T18" fmla="*/ 427 w 427"/>
                <a:gd name="T19" fmla="*/ 224 h 620"/>
                <a:gd name="T20" fmla="*/ 427 w 427"/>
                <a:gd name="T21" fmla="*/ 396 h 620"/>
                <a:gd name="T22" fmla="*/ 400 w 427"/>
                <a:gd name="T23" fmla="*/ 513 h 620"/>
                <a:gd name="T24" fmla="*/ 325 w 427"/>
                <a:gd name="T25" fmla="*/ 592 h 620"/>
                <a:gd name="T26" fmla="*/ 213 w 427"/>
                <a:gd name="T27" fmla="*/ 620 h 620"/>
                <a:gd name="T28" fmla="*/ 102 w 427"/>
                <a:gd name="T29" fmla="*/ 592 h 620"/>
                <a:gd name="T30" fmla="*/ 280 w 427"/>
                <a:gd name="T31" fmla="*/ 519 h 620"/>
                <a:gd name="T32" fmla="*/ 324 w 427"/>
                <a:gd name="T33" fmla="*/ 471 h 620"/>
                <a:gd name="T34" fmla="*/ 340 w 427"/>
                <a:gd name="T35" fmla="*/ 399 h 620"/>
                <a:gd name="T36" fmla="*/ 340 w 427"/>
                <a:gd name="T37" fmla="*/ 221 h 620"/>
                <a:gd name="T38" fmla="*/ 324 w 427"/>
                <a:gd name="T39" fmla="*/ 149 h 620"/>
                <a:gd name="T40" fmla="*/ 280 w 427"/>
                <a:gd name="T41" fmla="*/ 101 h 620"/>
                <a:gd name="T42" fmla="*/ 213 w 427"/>
                <a:gd name="T43" fmla="*/ 84 h 620"/>
                <a:gd name="T44" fmla="*/ 147 w 427"/>
                <a:gd name="T45" fmla="*/ 101 h 620"/>
                <a:gd name="T46" fmla="*/ 103 w 427"/>
                <a:gd name="T47" fmla="*/ 149 h 620"/>
                <a:gd name="T48" fmla="*/ 87 w 427"/>
                <a:gd name="T49" fmla="*/ 221 h 620"/>
                <a:gd name="T50" fmla="*/ 87 w 427"/>
                <a:gd name="T51" fmla="*/ 399 h 620"/>
                <a:gd name="T52" fmla="*/ 103 w 427"/>
                <a:gd name="T53" fmla="*/ 471 h 620"/>
                <a:gd name="T54" fmla="*/ 147 w 427"/>
                <a:gd name="T55" fmla="*/ 519 h 620"/>
                <a:gd name="T56" fmla="*/ 213 w 427"/>
                <a:gd name="T57" fmla="*/ 536 h 620"/>
                <a:gd name="T58" fmla="*/ 280 w 427"/>
                <a:gd name="T59" fmla="*/ 5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27" h="620">
                  <a:moveTo>
                    <a:pt x="102" y="592"/>
                  </a:moveTo>
                  <a:cubicBezTo>
                    <a:pt x="69" y="573"/>
                    <a:pt x="44" y="547"/>
                    <a:pt x="27" y="513"/>
                  </a:cubicBezTo>
                  <a:cubicBezTo>
                    <a:pt x="9" y="480"/>
                    <a:pt x="0" y="440"/>
                    <a:pt x="0" y="396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179"/>
                    <a:pt x="9" y="140"/>
                    <a:pt x="27" y="106"/>
                  </a:cubicBezTo>
                  <a:cubicBezTo>
                    <a:pt x="44" y="73"/>
                    <a:pt x="69" y="46"/>
                    <a:pt x="102" y="28"/>
                  </a:cubicBezTo>
                  <a:cubicBezTo>
                    <a:pt x="134" y="9"/>
                    <a:pt x="171" y="0"/>
                    <a:pt x="213" y="0"/>
                  </a:cubicBezTo>
                  <a:cubicBezTo>
                    <a:pt x="256" y="0"/>
                    <a:pt x="293" y="9"/>
                    <a:pt x="325" y="28"/>
                  </a:cubicBezTo>
                  <a:cubicBezTo>
                    <a:pt x="358" y="46"/>
                    <a:pt x="383" y="73"/>
                    <a:pt x="400" y="106"/>
                  </a:cubicBezTo>
                  <a:cubicBezTo>
                    <a:pt x="418" y="140"/>
                    <a:pt x="427" y="179"/>
                    <a:pt x="427" y="224"/>
                  </a:cubicBezTo>
                  <a:cubicBezTo>
                    <a:pt x="427" y="396"/>
                    <a:pt x="427" y="396"/>
                    <a:pt x="427" y="396"/>
                  </a:cubicBezTo>
                  <a:cubicBezTo>
                    <a:pt x="427" y="440"/>
                    <a:pt x="418" y="480"/>
                    <a:pt x="400" y="513"/>
                  </a:cubicBezTo>
                  <a:cubicBezTo>
                    <a:pt x="383" y="547"/>
                    <a:pt x="358" y="573"/>
                    <a:pt x="325" y="592"/>
                  </a:cubicBezTo>
                  <a:cubicBezTo>
                    <a:pt x="293" y="610"/>
                    <a:pt x="256" y="620"/>
                    <a:pt x="213" y="620"/>
                  </a:cubicBezTo>
                  <a:cubicBezTo>
                    <a:pt x="171" y="620"/>
                    <a:pt x="134" y="610"/>
                    <a:pt x="102" y="592"/>
                  </a:cubicBezTo>
                  <a:close/>
                  <a:moveTo>
                    <a:pt x="280" y="519"/>
                  </a:moveTo>
                  <a:cubicBezTo>
                    <a:pt x="299" y="507"/>
                    <a:pt x="313" y="491"/>
                    <a:pt x="324" y="471"/>
                  </a:cubicBezTo>
                  <a:cubicBezTo>
                    <a:pt x="334" y="450"/>
                    <a:pt x="340" y="426"/>
                    <a:pt x="340" y="399"/>
                  </a:cubicBezTo>
                  <a:cubicBezTo>
                    <a:pt x="340" y="221"/>
                    <a:pt x="340" y="221"/>
                    <a:pt x="340" y="221"/>
                  </a:cubicBezTo>
                  <a:cubicBezTo>
                    <a:pt x="340" y="194"/>
                    <a:pt x="334" y="170"/>
                    <a:pt x="324" y="149"/>
                  </a:cubicBezTo>
                  <a:cubicBezTo>
                    <a:pt x="313" y="128"/>
                    <a:pt x="299" y="112"/>
                    <a:pt x="280" y="101"/>
                  </a:cubicBezTo>
                  <a:cubicBezTo>
                    <a:pt x="261" y="90"/>
                    <a:pt x="239" y="84"/>
                    <a:pt x="213" y="84"/>
                  </a:cubicBezTo>
                  <a:cubicBezTo>
                    <a:pt x="188" y="84"/>
                    <a:pt x="166" y="90"/>
                    <a:pt x="147" y="101"/>
                  </a:cubicBezTo>
                  <a:cubicBezTo>
                    <a:pt x="128" y="112"/>
                    <a:pt x="114" y="128"/>
                    <a:pt x="103" y="149"/>
                  </a:cubicBezTo>
                  <a:cubicBezTo>
                    <a:pt x="93" y="170"/>
                    <a:pt x="87" y="194"/>
                    <a:pt x="87" y="221"/>
                  </a:cubicBezTo>
                  <a:cubicBezTo>
                    <a:pt x="87" y="399"/>
                    <a:pt x="87" y="399"/>
                    <a:pt x="87" y="399"/>
                  </a:cubicBezTo>
                  <a:cubicBezTo>
                    <a:pt x="87" y="426"/>
                    <a:pt x="93" y="450"/>
                    <a:pt x="103" y="471"/>
                  </a:cubicBezTo>
                  <a:cubicBezTo>
                    <a:pt x="114" y="491"/>
                    <a:pt x="128" y="507"/>
                    <a:pt x="147" y="519"/>
                  </a:cubicBezTo>
                  <a:cubicBezTo>
                    <a:pt x="166" y="530"/>
                    <a:pt x="188" y="536"/>
                    <a:pt x="213" y="536"/>
                  </a:cubicBezTo>
                  <a:cubicBezTo>
                    <a:pt x="239" y="536"/>
                    <a:pt x="261" y="530"/>
                    <a:pt x="280" y="519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</p:grpSp>
    </p:spTree>
    <p:extLst>
      <p:ext uri="{BB962C8B-B14F-4D97-AF65-F5344CB8AC3E}">
        <p14:creationId xmlns:p14="http://schemas.microsoft.com/office/powerpoint/2010/main" val="37902115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表紙：LA7_16_9_Onscreen（自由）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sp>
        <p:nvSpPr>
          <p:cNvPr id="25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pic>
        <p:nvPicPr>
          <p:cNvPr id="26" name="図 2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9277" y="5527551"/>
            <a:ext cx="2022302" cy="516581"/>
          </a:xfrm>
          <a:prstGeom prst="rect">
            <a:avLst/>
          </a:prstGeom>
        </p:spPr>
      </p:pic>
      <p:sp>
        <p:nvSpPr>
          <p:cNvPr id="27" name="表紙サブタイトル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4420" y="3898245"/>
            <a:ext cx="4596587" cy="28803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33">
                <a:solidFill>
                  <a:schemeClr val="tx1"/>
                </a:solidFill>
              </a:defRPr>
            </a:lvl1pPr>
            <a:lvl2pPr marL="402393" indent="0" algn="ctr">
              <a:buNone/>
              <a:defRPr sz="1760"/>
            </a:lvl2pPr>
            <a:lvl3pPr marL="804784" indent="0" algn="ctr">
              <a:buNone/>
              <a:defRPr sz="1585"/>
            </a:lvl3pPr>
            <a:lvl4pPr marL="1207176" indent="0" algn="ctr">
              <a:buNone/>
              <a:defRPr sz="1408"/>
            </a:lvl4pPr>
            <a:lvl5pPr marL="1609567" indent="0" algn="ctr">
              <a:buNone/>
              <a:defRPr sz="1408"/>
            </a:lvl5pPr>
            <a:lvl6pPr marL="2011960" indent="0" algn="ctr">
              <a:buNone/>
              <a:defRPr sz="1408"/>
            </a:lvl6pPr>
            <a:lvl7pPr marL="2414352" indent="0" algn="ctr">
              <a:buNone/>
              <a:defRPr sz="1408"/>
            </a:lvl7pPr>
            <a:lvl8pPr marL="2816744" indent="0" algn="ctr">
              <a:buNone/>
              <a:defRPr sz="1408"/>
            </a:lvl8pPr>
            <a:lvl9pPr marL="3219133" indent="0" algn="ctr">
              <a:buNone/>
              <a:defRPr sz="1408"/>
            </a:lvl9pPr>
          </a:lstStyle>
          <a:p>
            <a:r>
              <a:rPr lang="ja-JP" altLang="en-US" noProof="0" dirty="0"/>
              <a:t>表紙</a:t>
            </a:r>
            <a:r>
              <a:rPr lang="ja-JP" altLang="en-US" noProof="0" dirty="0" smtClean="0"/>
              <a:t>サブタイトル（任意）／</a:t>
            </a:r>
            <a:r>
              <a:rPr lang="en-US" altLang="ja-JP" noProof="0" dirty="0" smtClean="0"/>
              <a:t>16pt</a:t>
            </a:r>
          </a:p>
        </p:txBody>
      </p:sp>
      <p:sp>
        <p:nvSpPr>
          <p:cNvPr id="28" name="表紙タイトル"/>
          <p:cNvSpPr>
            <a:spLocks noGrp="1"/>
          </p:cNvSpPr>
          <p:nvPr>
            <p:ph type="ctrTitle" hasCustomPrompt="1"/>
          </p:nvPr>
        </p:nvSpPr>
        <p:spPr bwMode="gray">
          <a:xfrm>
            <a:off x="434422" y="4234245"/>
            <a:ext cx="8028968" cy="1114968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17" b="1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 smtClean="0"/>
              <a:t>表紙タイトル／</a:t>
            </a:r>
            <a:r>
              <a:rPr lang="en-US" altLang="ja-JP" noProof="0" dirty="0" smtClean="0"/>
              <a:t>26pt </a:t>
            </a:r>
            <a:r>
              <a:rPr lang="ja-JP" altLang="en-US" noProof="0" dirty="0" smtClean="0"/>
              <a:t>太字</a:t>
            </a:r>
            <a:r>
              <a:rPr lang="en-US" altLang="ja-JP" noProof="0" dirty="0" smtClean="0"/>
              <a:t/>
            </a:r>
            <a:br>
              <a:rPr lang="en-US" altLang="ja-JP" noProof="0" dirty="0" smtClean="0"/>
            </a:br>
            <a:r>
              <a:rPr lang="ja-JP" altLang="en-US" noProof="0" dirty="0" smtClean="0"/>
              <a:t>表紙タイトル／</a:t>
            </a:r>
            <a:r>
              <a:rPr lang="en-US" altLang="ja-JP" noProof="0" dirty="0" smtClean="0"/>
              <a:t>26pt </a:t>
            </a:r>
            <a:r>
              <a:rPr lang="ja-JP" altLang="en-US" noProof="0" dirty="0" smtClean="0"/>
              <a:t>太字</a:t>
            </a:r>
            <a:endParaRPr lang="en-US" noProof="0" dirty="0"/>
          </a:p>
        </p:txBody>
      </p:sp>
      <p:sp>
        <p:nvSpPr>
          <p:cNvPr id="29" name="バージョン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49277" y="6222469"/>
            <a:ext cx="2022302" cy="206096"/>
          </a:xfrm>
          <a:prstGeom prst="rect">
            <a:avLst/>
          </a:prstGeom>
        </p:spPr>
        <p:txBody>
          <a:bodyPr wrap="square" lIns="36000" tIns="36000" rIns="36000" bIns="3600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67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 err="1" smtClean="0"/>
              <a:t>Ver.XXX</a:t>
            </a:r>
            <a:endParaRPr lang="ja-JP" altLang="en-US" dirty="0"/>
          </a:p>
        </p:txBody>
      </p:sp>
      <p:pic>
        <p:nvPicPr>
          <p:cNvPr id="14" name="図 1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49" t="12146" r="6223" b="3393"/>
          <a:stretch/>
        </p:blipFill>
        <p:spPr>
          <a:xfrm>
            <a:off x="434420" y="548680"/>
            <a:ext cx="9034796" cy="3072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25337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表紙：LA8_16_9_Onscreen（自由）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sp>
        <p:nvSpPr>
          <p:cNvPr id="25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pic>
        <p:nvPicPr>
          <p:cNvPr id="26" name="図 2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9277" y="5527551"/>
            <a:ext cx="2022302" cy="516581"/>
          </a:xfrm>
          <a:prstGeom prst="rect">
            <a:avLst/>
          </a:prstGeom>
        </p:spPr>
      </p:pic>
      <p:sp>
        <p:nvSpPr>
          <p:cNvPr id="27" name="表紙サブタイトル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4420" y="3898245"/>
            <a:ext cx="4596587" cy="28803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33">
                <a:solidFill>
                  <a:schemeClr val="tx1"/>
                </a:solidFill>
              </a:defRPr>
            </a:lvl1pPr>
            <a:lvl2pPr marL="402393" indent="0" algn="ctr">
              <a:buNone/>
              <a:defRPr sz="1760"/>
            </a:lvl2pPr>
            <a:lvl3pPr marL="804784" indent="0" algn="ctr">
              <a:buNone/>
              <a:defRPr sz="1585"/>
            </a:lvl3pPr>
            <a:lvl4pPr marL="1207176" indent="0" algn="ctr">
              <a:buNone/>
              <a:defRPr sz="1408"/>
            </a:lvl4pPr>
            <a:lvl5pPr marL="1609567" indent="0" algn="ctr">
              <a:buNone/>
              <a:defRPr sz="1408"/>
            </a:lvl5pPr>
            <a:lvl6pPr marL="2011960" indent="0" algn="ctr">
              <a:buNone/>
              <a:defRPr sz="1408"/>
            </a:lvl6pPr>
            <a:lvl7pPr marL="2414352" indent="0" algn="ctr">
              <a:buNone/>
              <a:defRPr sz="1408"/>
            </a:lvl7pPr>
            <a:lvl8pPr marL="2816744" indent="0" algn="ctr">
              <a:buNone/>
              <a:defRPr sz="1408"/>
            </a:lvl8pPr>
            <a:lvl9pPr marL="3219133" indent="0" algn="ctr">
              <a:buNone/>
              <a:defRPr sz="1408"/>
            </a:lvl9pPr>
          </a:lstStyle>
          <a:p>
            <a:r>
              <a:rPr lang="ja-JP" altLang="en-US" noProof="0" dirty="0"/>
              <a:t>表紙</a:t>
            </a:r>
            <a:r>
              <a:rPr lang="ja-JP" altLang="en-US" noProof="0" dirty="0" smtClean="0"/>
              <a:t>サブタイトル（任意）／</a:t>
            </a:r>
            <a:r>
              <a:rPr lang="en-US" altLang="ja-JP" noProof="0" dirty="0" smtClean="0"/>
              <a:t>16pt</a:t>
            </a:r>
          </a:p>
        </p:txBody>
      </p:sp>
      <p:sp>
        <p:nvSpPr>
          <p:cNvPr id="28" name="表紙タイトル"/>
          <p:cNvSpPr>
            <a:spLocks noGrp="1"/>
          </p:cNvSpPr>
          <p:nvPr>
            <p:ph type="ctrTitle" hasCustomPrompt="1"/>
          </p:nvPr>
        </p:nvSpPr>
        <p:spPr bwMode="gray">
          <a:xfrm>
            <a:off x="434422" y="4234245"/>
            <a:ext cx="8028968" cy="1114968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17" b="1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 smtClean="0"/>
              <a:t>表紙タイトル／</a:t>
            </a:r>
            <a:r>
              <a:rPr lang="en-US" altLang="ja-JP" noProof="0" dirty="0" smtClean="0"/>
              <a:t>26pt </a:t>
            </a:r>
            <a:r>
              <a:rPr lang="ja-JP" altLang="en-US" noProof="0" dirty="0" smtClean="0"/>
              <a:t>太字</a:t>
            </a:r>
            <a:r>
              <a:rPr lang="en-US" altLang="ja-JP" noProof="0" dirty="0" smtClean="0"/>
              <a:t/>
            </a:r>
            <a:br>
              <a:rPr lang="en-US" altLang="ja-JP" noProof="0" dirty="0" smtClean="0"/>
            </a:br>
            <a:r>
              <a:rPr lang="ja-JP" altLang="en-US" noProof="0" dirty="0" smtClean="0"/>
              <a:t>表紙タイトル／</a:t>
            </a:r>
            <a:r>
              <a:rPr lang="en-US" altLang="ja-JP" noProof="0" dirty="0" smtClean="0"/>
              <a:t>26pt </a:t>
            </a:r>
            <a:r>
              <a:rPr lang="ja-JP" altLang="en-US" noProof="0" dirty="0" smtClean="0"/>
              <a:t>太字</a:t>
            </a:r>
            <a:endParaRPr lang="en-US" noProof="0" dirty="0"/>
          </a:p>
        </p:txBody>
      </p:sp>
      <p:sp>
        <p:nvSpPr>
          <p:cNvPr id="29" name="バージョン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49277" y="6222469"/>
            <a:ext cx="2022302" cy="206096"/>
          </a:xfrm>
          <a:prstGeom prst="rect">
            <a:avLst/>
          </a:prstGeom>
        </p:spPr>
        <p:txBody>
          <a:bodyPr wrap="square" lIns="36000" tIns="36000" rIns="36000" bIns="3600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67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 err="1" smtClean="0"/>
              <a:t>Ver.XXX</a:t>
            </a:r>
            <a:endParaRPr lang="ja-JP" altLang="en-US" dirty="0"/>
          </a:p>
        </p:txBody>
      </p:sp>
      <p:pic>
        <p:nvPicPr>
          <p:cNvPr id="10" name="図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498" y="548679"/>
            <a:ext cx="9043081" cy="3072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17963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基本版)20160408_クライアント資料用／配布資料テンプレート／ヨ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コンテンツ プレースホルダー 8"/>
          <p:cNvSpPr>
            <a:spLocks noGrp="1"/>
          </p:cNvSpPr>
          <p:nvPr>
            <p:ph sz="quarter" idx="13"/>
          </p:nvPr>
        </p:nvSpPr>
        <p:spPr>
          <a:xfrm>
            <a:off x="417512" y="1557338"/>
            <a:ext cx="9071487" cy="4751982"/>
          </a:xfrm>
          <a:prstGeom prst="rect">
            <a:avLst/>
          </a:prstGeom>
        </p:spPr>
        <p:txBody>
          <a:bodyPr>
            <a:normAutofit/>
          </a:bodyPr>
          <a:lstStyle>
            <a:lvl2pPr marL="0" indent="0">
              <a:buNone/>
              <a:defRPr sz="1600"/>
            </a:lvl2pPr>
            <a:lvl3pPr>
              <a:defRPr sz="1800"/>
            </a:lvl3pPr>
            <a:lvl4pPr>
              <a:defRPr sz="1800"/>
            </a:lvl4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349" fontAlgn="auto">
              <a:spcBef>
                <a:spcPts val="0"/>
              </a:spcBef>
              <a:spcAft>
                <a:spcPts val="0"/>
              </a:spcAft>
            </a:pPr>
            <a:endParaRPr kumimoji="1" lang="en-GB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>
          <a:xfrm>
            <a:off x="410400" y="6588002"/>
            <a:ext cx="180000" cy="169200"/>
          </a:xfrm>
          <a:prstGeom prst="rect">
            <a:avLst/>
          </a:prstGeom>
        </p:spPr>
        <p:txBody>
          <a:bodyPr/>
          <a:lstStyle/>
          <a:p>
            <a:pPr defTabSz="914349" fontAlgn="auto">
              <a:spcBef>
                <a:spcPts val="0"/>
              </a:spcBef>
              <a:spcAft>
                <a:spcPts val="0"/>
              </a:spcAft>
            </a:pPr>
            <a:fld id="{00CF35F9-5879-42A9-8B76-81836FFCFE60}" type="slidenum">
              <a:rPr kumimoji="1" lang="ja-JP" altLang="en-US" smtClean="0"/>
              <a:pPr defTabSz="914349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11" name="タイトル 4"/>
          <p:cNvSpPr>
            <a:spLocks noGrp="1"/>
          </p:cNvSpPr>
          <p:nvPr>
            <p:ph type="title" hasCustomPrompt="1"/>
          </p:nvPr>
        </p:nvSpPr>
        <p:spPr>
          <a:xfrm>
            <a:off x="417000" y="152400"/>
            <a:ext cx="9072000" cy="636000"/>
          </a:xfrm>
        </p:spPr>
        <p:txBody>
          <a:bodyPr/>
          <a:lstStyle/>
          <a:p>
            <a:r>
              <a:rPr lang="ja-JP" altLang="en-US" dirty="0" smtClean="0"/>
              <a:t>項番・項目</a:t>
            </a:r>
            <a:r>
              <a:rPr lang="en-US" altLang="ja-JP" dirty="0" smtClean="0"/>
              <a:t>(</a:t>
            </a:r>
            <a:r>
              <a:rPr lang="ja-JP" altLang="en-US" dirty="0" smtClean="0"/>
              <a:t>文字数はスライド横幅の中心まで</a:t>
            </a:r>
            <a:r>
              <a:rPr lang="en-US" altLang="ja-JP" dirty="0" smtClean="0"/>
              <a:t>)</a:t>
            </a:r>
            <a:br>
              <a:rPr lang="en-US" altLang="ja-JP" dirty="0" smtClean="0"/>
            </a:br>
            <a:r>
              <a:rPr kumimoji="1" lang="ja-JP" altLang="en-US" dirty="0" smtClean="0"/>
              <a:t>キーメッセージ</a:t>
            </a:r>
            <a:r>
              <a:rPr kumimoji="1" lang="en-US" altLang="ja-JP" dirty="0" smtClean="0"/>
              <a:t>:</a:t>
            </a:r>
            <a:r>
              <a:rPr kumimoji="1" lang="ja-JP" altLang="en-US" dirty="0" smtClean="0"/>
              <a:t>（スライドで一番伝えたいこと</a:t>
            </a:r>
            <a:r>
              <a:rPr kumimoji="1" lang="en-US" altLang="ja-JP" dirty="0" smtClean="0"/>
              <a:t>1</a:t>
            </a:r>
            <a:r>
              <a:rPr kumimoji="1" lang="ja-JP" altLang="en-US" dirty="0" smtClean="0"/>
              <a:t>行</a:t>
            </a:r>
            <a:r>
              <a:rPr kumimoji="1" lang="en-US" altLang="ja-JP" dirty="0" smtClean="0"/>
              <a:t>*</a:t>
            </a:r>
            <a:r>
              <a:rPr kumimoji="1" lang="ja-JP" altLang="en-US" dirty="0" smtClean="0"/>
              <a:t>名詞・体言止め不可）</a:t>
            </a:r>
            <a:endParaRPr kumimoji="1" lang="ja-JP" altLang="en-US" dirty="0"/>
          </a:p>
        </p:txBody>
      </p:sp>
      <p:sp>
        <p:nvSpPr>
          <p:cNvPr id="106" name="テキスト プレースホルダー 6"/>
          <p:cNvSpPr>
            <a:spLocks noGrp="1"/>
          </p:cNvSpPr>
          <p:nvPr>
            <p:ph type="body" sz="quarter" idx="12" hasCustomPrompt="1"/>
          </p:nvPr>
        </p:nvSpPr>
        <p:spPr>
          <a:xfrm>
            <a:off x="417000" y="1016000"/>
            <a:ext cx="9072504" cy="432000"/>
          </a:xfrm>
          <a:prstGeom prst="rect">
            <a:avLst/>
          </a:prstGeom>
        </p:spPr>
        <p:txBody>
          <a:bodyPr wrap="none" anchor="ctr">
            <a:normAutofit/>
          </a:bodyPr>
          <a:lstStyle>
            <a:lvl1pPr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： </a:t>
            </a:r>
            <a:r>
              <a:rPr kumimoji="1" lang="en-US" altLang="ja-JP" dirty="0" smtClean="0"/>
              <a:t>18pt</a:t>
            </a:r>
            <a:r>
              <a:rPr kumimoji="1" lang="ja-JP" altLang="en-US" dirty="0" err="1" smtClean="0"/>
              <a:t>、</a:t>
            </a:r>
            <a:r>
              <a:rPr kumimoji="1" lang="en-US" altLang="ja-JP" dirty="0" smtClean="0"/>
              <a:t>1</a:t>
            </a:r>
            <a:r>
              <a:rPr kumimoji="1" lang="ja-JP" altLang="en-US" dirty="0" smtClean="0"/>
              <a:t>行</a:t>
            </a:r>
            <a:r>
              <a:rPr kumimoji="1" lang="en-US" altLang="ja-JP" dirty="0" smtClean="0"/>
              <a:t>(</a:t>
            </a:r>
            <a:r>
              <a:rPr kumimoji="1" lang="ja-JP" altLang="en-US" dirty="0" smtClean="0"/>
              <a:t>ワーキングエリア内のコンテンツを説明する表題を入れる</a:t>
            </a:r>
            <a:r>
              <a:rPr kumimoji="1" lang="en-US" altLang="ja-JP" dirty="0" smtClean="0"/>
              <a:t>)</a:t>
            </a:r>
            <a:endParaRPr kumimoji="1" lang="ja-JP" altLang="en-US" dirty="0"/>
          </a:p>
        </p:txBody>
      </p:sp>
      <p:sp>
        <p:nvSpPr>
          <p:cNvPr id="8" name="コピーライト"/>
          <p:cNvSpPr txBox="1">
            <a:spLocks noChangeArrowheads="1"/>
          </p:cNvSpPr>
          <p:nvPr userDrawn="1"/>
        </p:nvSpPr>
        <p:spPr bwMode="gray">
          <a:xfrm>
            <a:off x="5133000" y="6597650"/>
            <a:ext cx="4356000" cy="17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marL="0" marR="0" indent="0" algn="r" defTabSz="914349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900" kern="1200" dirty="0">
                <a:solidFill>
                  <a:schemeClr val="tx1"/>
                </a:solidFill>
                <a:latin typeface="Arial" charset="0"/>
                <a:ea typeface="ＭＳ Ｐゴシック" pitchFamily="50" charset="-128"/>
                <a:cs typeface="Arial" charset="0"/>
              </a:rPr>
              <a:t>© </a:t>
            </a:r>
            <a:r>
              <a:rPr lang="en-US" altLang="ja-JP" sz="900" kern="1200" dirty="0" smtClean="0">
                <a:solidFill>
                  <a:schemeClr val="tx1"/>
                </a:solidFill>
                <a:latin typeface="Arial" charset="0"/>
                <a:ea typeface="ＭＳ Ｐゴシック" pitchFamily="50" charset="-128"/>
                <a:cs typeface="Arial" charset="0"/>
              </a:rPr>
              <a:t>2017. </a:t>
            </a:r>
            <a:r>
              <a:rPr lang="en-US" altLang="ja-JP" sz="900" kern="1200" dirty="0">
                <a:solidFill>
                  <a:schemeClr val="tx1"/>
                </a:solidFill>
                <a:latin typeface="Arial" charset="0"/>
                <a:ea typeface="ＭＳ Ｐゴシック" pitchFamily="50" charset="-128"/>
                <a:cs typeface="Arial" charset="0"/>
              </a:rPr>
              <a:t>For information, contact Tohmatsu Innovation Co., Ltd.</a:t>
            </a:r>
          </a:p>
        </p:txBody>
      </p:sp>
    </p:spTree>
    <p:extLst>
      <p:ext uri="{BB962C8B-B14F-4D97-AF65-F5344CB8AC3E}">
        <p14:creationId xmlns:p14="http://schemas.microsoft.com/office/powerpoint/2010/main" val="2685377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表紙：LA5_16_9_Onscreen（BC活用のコツ・スタートアップイメージ）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sp>
        <p:nvSpPr>
          <p:cNvPr id="25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pic>
        <p:nvPicPr>
          <p:cNvPr id="26" name="図 2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9277" y="5527551"/>
            <a:ext cx="2022302" cy="516581"/>
          </a:xfrm>
          <a:prstGeom prst="rect">
            <a:avLst/>
          </a:prstGeom>
        </p:spPr>
      </p:pic>
      <p:sp>
        <p:nvSpPr>
          <p:cNvPr id="27" name="表紙サブタイトル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4420" y="3898245"/>
            <a:ext cx="4596587" cy="28803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33">
                <a:solidFill>
                  <a:schemeClr val="tx1"/>
                </a:solidFill>
              </a:defRPr>
            </a:lvl1pPr>
            <a:lvl2pPr marL="402393" indent="0" algn="ctr">
              <a:buNone/>
              <a:defRPr sz="1760"/>
            </a:lvl2pPr>
            <a:lvl3pPr marL="804784" indent="0" algn="ctr">
              <a:buNone/>
              <a:defRPr sz="1585"/>
            </a:lvl3pPr>
            <a:lvl4pPr marL="1207176" indent="0" algn="ctr">
              <a:buNone/>
              <a:defRPr sz="1408"/>
            </a:lvl4pPr>
            <a:lvl5pPr marL="1609567" indent="0" algn="ctr">
              <a:buNone/>
              <a:defRPr sz="1408"/>
            </a:lvl5pPr>
            <a:lvl6pPr marL="2011960" indent="0" algn="ctr">
              <a:buNone/>
              <a:defRPr sz="1408"/>
            </a:lvl6pPr>
            <a:lvl7pPr marL="2414352" indent="0" algn="ctr">
              <a:buNone/>
              <a:defRPr sz="1408"/>
            </a:lvl7pPr>
            <a:lvl8pPr marL="2816744" indent="0" algn="ctr">
              <a:buNone/>
              <a:defRPr sz="1408"/>
            </a:lvl8pPr>
            <a:lvl9pPr marL="3219133" indent="0" algn="ctr">
              <a:buNone/>
              <a:defRPr sz="1408"/>
            </a:lvl9pPr>
          </a:lstStyle>
          <a:p>
            <a:r>
              <a:rPr lang="ja-JP" altLang="en-US" noProof="0" dirty="0"/>
              <a:t>表紙</a:t>
            </a:r>
            <a:r>
              <a:rPr lang="ja-JP" altLang="en-US" noProof="0" dirty="0" smtClean="0"/>
              <a:t>サブタイトル（任意）／</a:t>
            </a:r>
            <a:r>
              <a:rPr lang="en-US" altLang="ja-JP" noProof="0" dirty="0" smtClean="0"/>
              <a:t>16pt</a:t>
            </a:r>
          </a:p>
        </p:txBody>
      </p:sp>
      <p:sp>
        <p:nvSpPr>
          <p:cNvPr id="28" name="表紙タイトル"/>
          <p:cNvSpPr>
            <a:spLocks noGrp="1"/>
          </p:cNvSpPr>
          <p:nvPr>
            <p:ph type="ctrTitle" hasCustomPrompt="1"/>
          </p:nvPr>
        </p:nvSpPr>
        <p:spPr bwMode="gray">
          <a:xfrm>
            <a:off x="434422" y="4234245"/>
            <a:ext cx="8028968" cy="1114968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17" b="1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 smtClean="0"/>
              <a:t>表紙タイトル／</a:t>
            </a:r>
            <a:r>
              <a:rPr lang="en-US" altLang="ja-JP" noProof="0" dirty="0" smtClean="0"/>
              <a:t>26pt </a:t>
            </a:r>
            <a:r>
              <a:rPr lang="ja-JP" altLang="en-US" noProof="0" dirty="0" smtClean="0"/>
              <a:t>太字</a:t>
            </a:r>
            <a:r>
              <a:rPr lang="en-US" altLang="ja-JP" noProof="0" dirty="0" smtClean="0"/>
              <a:t/>
            </a:r>
            <a:br>
              <a:rPr lang="en-US" altLang="ja-JP" noProof="0" dirty="0" smtClean="0"/>
            </a:br>
            <a:r>
              <a:rPr lang="ja-JP" altLang="en-US" noProof="0" dirty="0" smtClean="0"/>
              <a:t>表紙タイトル／</a:t>
            </a:r>
            <a:r>
              <a:rPr lang="en-US" altLang="ja-JP" noProof="0" dirty="0" smtClean="0"/>
              <a:t>26pt </a:t>
            </a:r>
            <a:r>
              <a:rPr lang="ja-JP" altLang="en-US" noProof="0" dirty="0" smtClean="0"/>
              <a:t>太字</a:t>
            </a:r>
            <a:endParaRPr lang="en-US" noProof="0" dirty="0"/>
          </a:p>
        </p:txBody>
      </p:sp>
      <p:sp>
        <p:nvSpPr>
          <p:cNvPr id="29" name="バージョン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49277" y="6222469"/>
            <a:ext cx="2022302" cy="206096"/>
          </a:xfrm>
          <a:prstGeom prst="rect">
            <a:avLst/>
          </a:prstGeom>
        </p:spPr>
        <p:txBody>
          <a:bodyPr wrap="square" lIns="36000" tIns="36000" rIns="36000" bIns="3600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67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 err="1" smtClean="0"/>
              <a:t>Ver.XXX</a:t>
            </a:r>
            <a:endParaRPr lang="ja-JP" altLang="en-US" dirty="0"/>
          </a:p>
        </p:txBody>
      </p:sp>
      <p:pic>
        <p:nvPicPr>
          <p:cNvPr id="10" name="図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4421" y="548680"/>
            <a:ext cx="9054932" cy="3101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72847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表紙：LA11_16_9_Onscreen（新入社員研修）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sp>
        <p:nvSpPr>
          <p:cNvPr id="25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pic>
        <p:nvPicPr>
          <p:cNvPr id="26" name="図 2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9277" y="5527551"/>
            <a:ext cx="2022302" cy="516581"/>
          </a:xfrm>
          <a:prstGeom prst="rect">
            <a:avLst/>
          </a:prstGeom>
        </p:spPr>
      </p:pic>
      <p:sp>
        <p:nvSpPr>
          <p:cNvPr id="27" name="表紙サブタイトル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4420" y="3898245"/>
            <a:ext cx="4596587" cy="28803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33">
                <a:solidFill>
                  <a:schemeClr val="tx1"/>
                </a:solidFill>
              </a:defRPr>
            </a:lvl1pPr>
            <a:lvl2pPr marL="402393" indent="0" algn="ctr">
              <a:buNone/>
              <a:defRPr sz="1760"/>
            </a:lvl2pPr>
            <a:lvl3pPr marL="804784" indent="0" algn="ctr">
              <a:buNone/>
              <a:defRPr sz="1585"/>
            </a:lvl3pPr>
            <a:lvl4pPr marL="1207176" indent="0" algn="ctr">
              <a:buNone/>
              <a:defRPr sz="1408"/>
            </a:lvl4pPr>
            <a:lvl5pPr marL="1609567" indent="0" algn="ctr">
              <a:buNone/>
              <a:defRPr sz="1408"/>
            </a:lvl5pPr>
            <a:lvl6pPr marL="2011960" indent="0" algn="ctr">
              <a:buNone/>
              <a:defRPr sz="1408"/>
            </a:lvl6pPr>
            <a:lvl7pPr marL="2414352" indent="0" algn="ctr">
              <a:buNone/>
              <a:defRPr sz="1408"/>
            </a:lvl7pPr>
            <a:lvl8pPr marL="2816744" indent="0" algn="ctr">
              <a:buNone/>
              <a:defRPr sz="1408"/>
            </a:lvl8pPr>
            <a:lvl9pPr marL="3219133" indent="0" algn="ctr">
              <a:buNone/>
              <a:defRPr sz="1408"/>
            </a:lvl9pPr>
          </a:lstStyle>
          <a:p>
            <a:r>
              <a:rPr lang="ja-JP" altLang="en-US" noProof="0" dirty="0"/>
              <a:t>表紙</a:t>
            </a:r>
            <a:r>
              <a:rPr lang="ja-JP" altLang="en-US" noProof="0" dirty="0" smtClean="0"/>
              <a:t>サブタイトル（任意）／</a:t>
            </a:r>
            <a:r>
              <a:rPr lang="en-US" altLang="ja-JP" noProof="0" dirty="0" smtClean="0"/>
              <a:t>16pt</a:t>
            </a:r>
          </a:p>
        </p:txBody>
      </p:sp>
      <p:sp>
        <p:nvSpPr>
          <p:cNvPr id="28" name="表紙タイトル"/>
          <p:cNvSpPr>
            <a:spLocks noGrp="1"/>
          </p:cNvSpPr>
          <p:nvPr>
            <p:ph type="ctrTitle" hasCustomPrompt="1"/>
          </p:nvPr>
        </p:nvSpPr>
        <p:spPr bwMode="gray">
          <a:xfrm>
            <a:off x="434422" y="4234245"/>
            <a:ext cx="8028968" cy="1114968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17" b="1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 smtClean="0"/>
              <a:t>表紙タイトル／</a:t>
            </a:r>
            <a:r>
              <a:rPr lang="en-US" altLang="ja-JP" noProof="0" dirty="0" smtClean="0"/>
              <a:t>26pt </a:t>
            </a:r>
            <a:r>
              <a:rPr lang="ja-JP" altLang="en-US" noProof="0" dirty="0" smtClean="0"/>
              <a:t>太字</a:t>
            </a:r>
            <a:r>
              <a:rPr lang="en-US" altLang="ja-JP" noProof="0" dirty="0" smtClean="0"/>
              <a:t/>
            </a:r>
            <a:br>
              <a:rPr lang="en-US" altLang="ja-JP" noProof="0" dirty="0" smtClean="0"/>
            </a:br>
            <a:r>
              <a:rPr lang="ja-JP" altLang="en-US" noProof="0" dirty="0" smtClean="0"/>
              <a:t>表紙タイトル／</a:t>
            </a:r>
            <a:r>
              <a:rPr lang="en-US" altLang="ja-JP" noProof="0" dirty="0" smtClean="0"/>
              <a:t>26pt </a:t>
            </a:r>
            <a:r>
              <a:rPr lang="ja-JP" altLang="en-US" noProof="0" dirty="0" smtClean="0"/>
              <a:t>太字</a:t>
            </a:r>
            <a:endParaRPr lang="en-US" noProof="0" dirty="0"/>
          </a:p>
        </p:txBody>
      </p:sp>
      <p:sp>
        <p:nvSpPr>
          <p:cNvPr id="29" name="バージョン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49277" y="6222469"/>
            <a:ext cx="2022302" cy="206096"/>
          </a:xfrm>
          <a:prstGeom prst="rect">
            <a:avLst/>
          </a:prstGeom>
        </p:spPr>
        <p:txBody>
          <a:bodyPr wrap="square" lIns="36000" tIns="36000" rIns="36000" bIns="3600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67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 err="1" smtClean="0"/>
              <a:t>Ver.XXX</a:t>
            </a:r>
            <a:endParaRPr lang="ja-JP" altLang="en-US" dirty="0"/>
          </a:p>
        </p:txBody>
      </p:sp>
      <p:pic>
        <p:nvPicPr>
          <p:cNvPr id="9" name="図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2" t="1" r="64" b="2500"/>
          <a:stretch/>
        </p:blipFill>
        <p:spPr>
          <a:xfrm>
            <a:off x="428497" y="532360"/>
            <a:ext cx="9049006" cy="3088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6789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セミナー注意事項：LA_16_9_Onsc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58"/>
          <p:cNvSpPr>
            <a:spLocks noEditPoints="1"/>
          </p:cNvSpPr>
          <p:nvPr/>
        </p:nvSpPr>
        <p:spPr bwMode="auto">
          <a:xfrm>
            <a:off x="825259" y="2776229"/>
            <a:ext cx="1190123" cy="1099936"/>
          </a:xfrm>
          <a:custGeom>
            <a:avLst/>
            <a:gdLst>
              <a:gd name="T0" fmla="*/ 658 w 695"/>
              <a:gd name="T1" fmla="*/ 62 h 524"/>
              <a:gd name="T2" fmla="*/ 658 w 695"/>
              <a:gd name="T3" fmla="*/ 20 h 524"/>
              <a:gd name="T4" fmla="*/ 638 w 695"/>
              <a:gd name="T5" fmla="*/ 0 h 524"/>
              <a:gd name="T6" fmla="*/ 523 w 695"/>
              <a:gd name="T7" fmla="*/ 0 h 524"/>
              <a:gd name="T8" fmla="*/ 348 w 695"/>
              <a:gd name="T9" fmla="*/ 72 h 524"/>
              <a:gd name="T10" fmla="*/ 172 w 695"/>
              <a:gd name="T11" fmla="*/ 0 h 524"/>
              <a:gd name="T12" fmla="*/ 57 w 695"/>
              <a:gd name="T13" fmla="*/ 0 h 524"/>
              <a:gd name="T14" fmla="*/ 37 w 695"/>
              <a:gd name="T15" fmla="*/ 20 h 524"/>
              <a:gd name="T16" fmla="*/ 37 w 695"/>
              <a:gd name="T17" fmla="*/ 62 h 524"/>
              <a:gd name="T18" fmla="*/ 0 w 695"/>
              <a:gd name="T19" fmla="*/ 62 h 524"/>
              <a:gd name="T20" fmla="*/ 0 w 695"/>
              <a:gd name="T21" fmla="*/ 437 h 524"/>
              <a:gd name="T22" fmla="*/ 0 w 695"/>
              <a:gd name="T23" fmla="*/ 437 h 524"/>
              <a:gd name="T24" fmla="*/ 0 w 695"/>
              <a:gd name="T25" fmla="*/ 493 h 524"/>
              <a:gd name="T26" fmla="*/ 317 w 695"/>
              <a:gd name="T27" fmla="*/ 511 h 524"/>
              <a:gd name="T28" fmla="*/ 317 w 695"/>
              <a:gd name="T29" fmla="*/ 524 h 524"/>
              <a:gd name="T30" fmla="*/ 347 w 695"/>
              <a:gd name="T31" fmla="*/ 524 h 524"/>
              <a:gd name="T32" fmla="*/ 347 w 695"/>
              <a:gd name="T33" fmla="*/ 524 h 524"/>
              <a:gd name="T34" fmla="*/ 348 w 695"/>
              <a:gd name="T35" fmla="*/ 524 h 524"/>
              <a:gd name="T36" fmla="*/ 348 w 695"/>
              <a:gd name="T37" fmla="*/ 524 h 524"/>
              <a:gd name="T38" fmla="*/ 348 w 695"/>
              <a:gd name="T39" fmla="*/ 524 h 524"/>
              <a:gd name="T40" fmla="*/ 379 w 695"/>
              <a:gd name="T41" fmla="*/ 524 h 524"/>
              <a:gd name="T42" fmla="*/ 379 w 695"/>
              <a:gd name="T43" fmla="*/ 511 h 524"/>
              <a:gd name="T44" fmla="*/ 695 w 695"/>
              <a:gd name="T45" fmla="*/ 493 h 524"/>
              <a:gd name="T46" fmla="*/ 695 w 695"/>
              <a:gd name="T47" fmla="*/ 437 h 524"/>
              <a:gd name="T48" fmla="*/ 695 w 695"/>
              <a:gd name="T49" fmla="*/ 437 h 524"/>
              <a:gd name="T50" fmla="*/ 695 w 695"/>
              <a:gd name="T51" fmla="*/ 62 h 524"/>
              <a:gd name="T52" fmla="*/ 658 w 695"/>
              <a:gd name="T53" fmla="*/ 62 h 524"/>
              <a:gd name="T54" fmla="*/ 523 w 695"/>
              <a:gd name="T55" fmla="*/ 40 h 524"/>
              <a:gd name="T56" fmla="*/ 618 w 695"/>
              <a:gd name="T57" fmla="*/ 40 h 524"/>
              <a:gd name="T58" fmla="*/ 618 w 695"/>
              <a:gd name="T59" fmla="*/ 62 h 524"/>
              <a:gd name="T60" fmla="*/ 618 w 695"/>
              <a:gd name="T61" fmla="*/ 392 h 524"/>
              <a:gd name="T62" fmla="*/ 523 w 695"/>
              <a:gd name="T63" fmla="*/ 392 h 524"/>
              <a:gd name="T64" fmla="*/ 375 w 695"/>
              <a:gd name="T65" fmla="*/ 433 h 524"/>
              <a:gd name="T66" fmla="*/ 375 w 695"/>
              <a:gd name="T67" fmla="*/ 101 h 524"/>
              <a:gd name="T68" fmla="*/ 416 w 695"/>
              <a:gd name="T69" fmla="*/ 69 h 524"/>
              <a:gd name="T70" fmla="*/ 523 w 695"/>
              <a:gd name="T71" fmla="*/ 40 h 524"/>
              <a:gd name="T72" fmla="*/ 77 w 695"/>
              <a:gd name="T73" fmla="*/ 40 h 524"/>
              <a:gd name="T74" fmla="*/ 172 w 695"/>
              <a:gd name="T75" fmla="*/ 40 h 524"/>
              <a:gd name="T76" fmla="*/ 279 w 695"/>
              <a:gd name="T77" fmla="*/ 69 h 524"/>
              <a:gd name="T78" fmla="*/ 320 w 695"/>
              <a:gd name="T79" fmla="*/ 101 h 524"/>
              <a:gd name="T80" fmla="*/ 320 w 695"/>
              <a:gd name="T81" fmla="*/ 433 h 524"/>
              <a:gd name="T82" fmla="*/ 172 w 695"/>
              <a:gd name="T83" fmla="*/ 392 h 524"/>
              <a:gd name="T84" fmla="*/ 77 w 695"/>
              <a:gd name="T85" fmla="*/ 392 h 524"/>
              <a:gd name="T86" fmla="*/ 77 w 695"/>
              <a:gd name="T87" fmla="*/ 62 h 524"/>
              <a:gd name="T88" fmla="*/ 77 w 695"/>
              <a:gd name="T89" fmla="*/ 40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95" h="524">
                <a:moveTo>
                  <a:pt x="658" y="62"/>
                </a:moveTo>
                <a:cubicBezTo>
                  <a:pt x="658" y="20"/>
                  <a:pt x="658" y="20"/>
                  <a:pt x="658" y="20"/>
                </a:cubicBezTo>
                <a:cubicBezTo>
                  <a:pt x="658" y="9"/>
                  <a:pt x="649" y="0"/>
                  <a:pt x="638" y="0"/>
                </a:cubicBezTo>
                <a:cubicBezTo>
                  <a:pt x="523" y="0"/>
                  <a:pt x="523" y="0"/>
                  <a:pt x="523" y="0"/>
                </a:cubicBezTo>
                <a:cubicBezTo>
                  <a:pt x="457" y="0"/>
                  <a:pt x="390" y="28"/>
                  <a:pt x="348" y="72"/>
                </a:cubicBezTo>
                <a:cubicBezTo>
                  <a:pt x="306" y="28"/>
                  <a:pt x="238" y="0"/>
                  <a:pt x="172" y="0"/>
                </a:cubicBezTo>
                <a:cubicBezTo>
                  <a:pt x="57" y="0"/>
                  <a:pt x="57" y="0"/>
                  <a:pt x="57" y="0"/>
                </a:cubicBezTo>
                <a:cubicBezTo>
                  <a:pt x="46" y="0"/>
                  <a:pt x="37" y="9"/>
                  <a:pt x="37" y="20"/>
                </a:cubicBezTo>
                <a:cubicBezTo>
                  <a:pt x="37" y="62"/>
                  <a:pt x="37" y="62"/>
                  <a:pt x="37" y="62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93"/>
                  <a:pt x="0" y="493"/>
                  <a:pt x="0" y="493"/>
                </a:cubicBezTo>
                <a:cubicBezTo>
                  <a:pt x="317" y="511"/>
                  <a:pt x="317" y="511"/>
                  <a:pt x="317" y="511"/>
                </a:cubicBezTo>
                <a:cubicBezTo>
                  <a:pt x="317" y="524"/>
                  <a:pt x="317" y="524"/>
                  <a:pt x="317" y="524"/>
                </a:cubicBezTo>
                <a:cubicBezTo>
                  <a:pt x="347" y="524"/>
                  <a:pt x="347" y="524"/>
                  <a:pt x="347" y="524"/>
                </a:cubicBezTo>
                <a:cubicBezTo>
                  <a:pt x="347" y="524"/>
                  <a:pt x="347" y="524"/>
                  <a:pt x="347" y="524"/>
                </a:cubicBezTo>
                <a:cubicBezTo>
                  <a:pt x="348" y="524"/>
                  <a:pt x="348" y="524"/>
                  <a:pt x="348" y="524"/>
                </a:cubicBezTo>
                <a:cubicBezTo>
                  <a:pt x="348" y="524"/>
                  <a:pt x="348" y="524"/>
                  <a:pt x="348" y="524"/>
                </a:cubicBezTo>
                <a:cubicBezTo>
                  <a:pt x="348" y="524"/>
                  <a:pt x="348" y="524"/>
                  <a:pt x="348" y="524"/>
                </a:cubicBezTo>
                <a:cubicBezTo>
                  <a:pt x="379" y="524"/>
                  <a:pt x="379" y="524"/>
                  <a:pt x="379" y="524"/>
                </a:cubicBezTo>
                <a:cubicBezTo>
                  <a:pt x="379" y="511"/>
                  <a:pt x="379" y="511"/>
                  <a:pt x="379" y="511"/>
                </a:cubicBezTo>
                <a:cubicBezTo>
                  <a:pt x="695" y="493"/>
                  <a:pt x="695" y="493"/>
                  <a:pt x="695" y="493"/>
                </a:cubicBezTo>
                <a:cubicBezTo>
                  <a:pt x="695" y="437"/>
                  <a:pt x="695" y="437"/>
                  <a:pt x="695" y="437"/>
                </a:cubicBezTo>
                <a:cubicBezTo>
                  <a:pt x="695" y="437"/>
                  <a:pt x="695" y="437"/>
                  <a:pt x="695" y="437"/>
                </a:cubicBezTo>
                <a:cubicBezTo>
                  <a:pt x="695" y="62"/>
                  <a:pt x="695" y="62"/>
                  <a:pt x="695" y="62"/>
                </a:cubicBezTo>
                <a:lnTo>
                  <a:pt x="658" y="62"/>
                </a:lnTo>
                <a:close/>
                <a:moveTo>
                  <a:pt x="523" y="40"/>
                </a:moveTo>
                <a:cubicBezTo>
                  <a:pt x="618" y="40"/>
                  <a:pt x="618" y="40"/>
                  <a:pt x="618" y="40"/>
                </a:cubicBezTo>
                <a:cubicBezTo>
                  <a:pt x="618" y="62"/>
                  <a:pt x="618" y="62"/>
                  <a:pt x="618" y="62"/>
                </a:cubicBezTo>
                <a:cubicBezTo>
                  <a:pt x="618" y="392"/>
                  <a:pt x="618" y="392"/>
                  <a:pt x="618" y="392"/>
                </a:cubicBezTo>
                <a:cubicBezTo>
                  <a:pt x="523" y="392"/>
                  <a:pt x="523" y="392"/>
                  <a:pt x="523" y="392"/>
                </a:cubicBezTo>
                <a:cubicBezTo>
                  <a:pt x="466" y="392"/>
                  <a:pt x="414" y="407"/>
                  <a:pt x="375" y="433"/>
                </a:cubicBezTo>
                <a:cubicBezTo>
                  <a:pt x="375" y="101"/>
                  <a:pt x="375" y="101"/>
                  <a:pt x="375" y="101"/>
                </a:cubicBezTo>
                <a:cubicBezTo>
                  <a:pt x="386" y="89"/>
                  <a:pt x="400" y="78"/>
                  <a:pt x="416" y="69"/>
                </a:cubicBezTo>
                <a:cubicBezTo>
                  <a:pt x="447" y="51"/>
                  <a:pt x="486" y="40"/>
                  <a:pt x="523" y="40"/>
                </a:cubicBezTo>
                <a:close/>
                <a:moveTo>
                  <a:pt x="77" y="40"/>
                </a:moveTo>
                <a:cubicBezTo>
                  <a:pt x="172" y="40"/>
                  <a:pt x="172" y="40"/>
                  <a:pt x="172" y="40"/>
                </a:cubicBezTo>
                <a:cubicBezTo>
                  <a:pt x="209" y="40"/>
                  <a:pt x="248" y="51"/>
                  <a:pt x="279" y="69"/>
                </a:cubicBezTo>
                <a:cubicBezTo>
                  <a:pt x="295" y="78"/>
                  <a:pt x="309" y="89"/>
                  <a:pt x="320" y="101"/>
                </a:cubicBezTo>
                <a:cubicBezTo>
                  <a:pt x="320" y="433"/>
                  <a:pt x="320" y="433"/>
                  <a:pt x="320" y="433"/>
                </a:cubicBezTo>
                <a:cubicBezTo>
                  <a:pt x="281" y="407"/>
                  <a:pt x="229" y="392"/>
                  <a:pt x="172" y="392"/>
                </a:cubicBezTo>
                <a:cubicBezTo>
                  <a:pt x="77" y="392"/>
                  <a:pt x="77" y="392"/>
                  <a:pt x="77" y="392"/>
                </a:cubicBezTo>
                <a:cubicBezTo>
                  <a:pt x="77" y="62"/>
                  <a:pt x="77" y="62"/>
                  <a:pt x="77" y="62"/>
                </a:cubicBezTo>
                <a:lnTo>
                  <a:pt x="77" y="4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ja-JP" altLang="en-US" sz="2058"/>
          </a:p>
        </p:txBody>
      </p:sp>
      <p:grpSp>
        <p:nvGrpSpPr>
          <p:cNvPr id="14" name="グループ化 13"/>
          <p:cNvGrpSpPr/>
          <p:nvPr/>
        </p:nvGrpSpPr>
        <p:grpSpPr>
          <a:xfrm>
            <a:off x="2758653" y="2126547"/>
            <a:ext cx="292499" cy="360795"/>
            <a:chOff x="3662387" y="915566"/>
            <a:chExt cx="719137" cy="720725"/>
          </a:xfrm>
        </p:grpSpPr>
        <p:sp>
          <p:nvSpPr>
            <p:cNvPr id="15" name="Freeform 20"/>
            <p:cNvSpPr>
              <a:spLocks/>
            </p:cNvSpPr>
            <p:nvPr/>
          </p:nvSpPr>
          <p:spPr bwMode="auto">
            <a:xfrm>
              <a:off x="3995762" y="1167979"/>
              <a:ext cx="52387" cy="147638"/>
            </a:xfrm>
            <a:custGeom>
              <a:avLst/>
              <a:gdLst>
                <a:gd name="T0" fmla="*/ 70 w 84"/>
                <a:gd name="T1" fmla="*/ 0 h 240"/>
                <a:gd name="T2" fmla="*/ 15 w 84"/>
                <a:gd name="T3" fmla="*/ 0 h 240"/>
                <a:gd name="T4" fmla="*/ 4 w 84"/>
                <a:gd name="T5" fmla="*/ 5 h 240"/>
                <a:gd name="T6" fmla="*/ 1 w 84"/>
                <a:gd name="T7" fmla="*/ 15 h 240"/>
                <a:gd name="T8" fmla="*/ 10 w 84"/>
                <a:gd name="T9" fmla="*/ 227 h 240"/>
                <a:gd name="T10" fmla="*/ 24 w 84"/>
                <a:gd name="T11" fmla="*/ 240 h 240"/>
                <a:gd name="T12" fmla="*/ 60 w 84"/>
                <a:gd name="T13" fmla="*/ 240 h 240"/>
                <a:gd name="T14" fmla="*/ 74 w 84"/>
                <a:gd name="T15" fmla="*/ 227 h 240"/>
                <a:gd name="T16" fmla="*/ 84 w 84"/>
                <a:gd name="T17" fmla="*/ 15 h 240"/>
                <a:gd name="T18" fmla="*/ 80 w 84"/>
                <a:gd name="T19" fmla="*/ 5 h 240"/>
                <a:gd name="T20" fmla="*/ 70 w 84"/>
                <a:gd name="T21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240">
                  <a:moveTo>
                    <a:pt x="7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1" y="0"/>
                    <a:pt x="7" y="2"/>
                    <a:pt x="4" y="5"/>
                  </a:cubicBezTo>
                  <a:cubicBezTo>
                    <a:pt x="2" y="7"/>
                    <a:pt x="0" y="11"/>
                    <a:pt x="1" y="15"/>
                  </a:cubicBezTo>
                  <a:cubicBezTo>
                    <a:pt x="10" y="227"/>
                    <a:pt x="10" y="227"/>
                    <a:pt x="10" y="227"/>
                  </a:cubicBezTo>
                  <a:cubicBezTo>
                    <a:pt x="11" y="234"/>
                    <a:pt x="17" y="240"/>
                    <a:pt x="24" y="240"/>
                  </a:cubicBezTo>
                  <a:cubicBezTo>
                    <a:pt x="60" y="240"/>
                    <a:pt x="60" y="240"/>
                    <a:pt x="60" y="240"/>
                  </a:cubicBezTo>
                  <a:cubicBezTo>
                    <a:pt x="68" y="240"/>
                    <a:pt x="74" y="234"/>
                    <a:pt x="74" y="227"/>
                  </a:cubicBezTo>
                  <a:cubicBezTo>
                    <a:pt x="84" y="15"/>
                    <a:pt x="84" y="15"/>
                    <a:pt x="84" y="15"/>
                  </a:cubicBezTo>
                  <a:cubicBezTo>
                    <a:pt x="84" y="11"/>
                    <a:pt x="83" y="7"/>
                    <a:pt x="80" y="5"/>
                  </a:cubicBezTo>
                  <a:cubicBezTo>
                    <a:pt x="77" y="2"/>
                    <a:pt x="74" y="0"/>
                    <a:pt x="70" y="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16" name="Freeform 21"/>
            <p:cNvSpPr>
              <a:spLocks/>
            </p:cNvSpPr>
            <p:nvPr/>
          </p:nvSpPr>
          <p:spPr bwMode="auto">
            <a:xfrm>
              <a:off x="4002112" y="1345779"/>
              <a:ext cx="39687" cy="38100"/>
            </a:xfrm>
            <a:custGeom>
              <a:avLst/>
              <a:gdLst>
                <a:gd name="T0" fmla="*/ 50 w 64"/>
                <a:gd name="T1" fmla="*/ 0 h 64"/>
                <a:gd name="T2" fmla="*/ 14 w 64"/>
                <a:gd name="T3" fmla="*/ 0 h 64"/>
                <a:gd name="T4" fmla="*/ 0 w 64"/>
                <a:gd name="T5" fmla="*/ 14 h 64"/>
                <a:gd name="T6" fmla="*/ 0 w 64"/>
                <a:gd name="T7" fmla="*/ 50 h 64"/>
                <a:gd name="T8" fmla="*/ 14 w 64"/>
                <a:gd name="T9" fmla="*/ 64 h 64"/>
                <a:gd name="T10" fmla="*/ 50 w 64"/>
                <a:gd name="T11" fmla="*/ 64 h 64"/>
                <a:gd name="T12" fmla="*/ 64 w 64"/>
                <a:gd name="T13" fmla="*/ 50 h 64"/>
                <a:gd name="T14" fmla="*/ 64 w 64"/>
                <a:gd name="T15" fmla="*/ 14 h 64"/>
                <a:gd name="T16" fmla="*/ 50 w 64"/>
                <a:gd name="T1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64">
                  <a:moveTo>
                    <a:pt x="50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8"/>
                    <a:pt x="7" y="64"/>
                    <a:pt x="14" y="64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8" y="64"/>
                    <a:pt x="64" y="58"/>
                    <a:pt x="64" y="50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6"/>
                    <a:pt x="58" y="0"/>
                    <a:pt x="50" y="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17" name="Freeform 22"/>
            <p:cNvSpPr>
              <a:spLocks noEditPoints="1"/>
            </p:cNvSpPr>
            <p:nvPr/>
          </p:nvSpPr>
          <p:spPr bwMode="auto">
            <a:xfrm>
              <a:off x="3662387" y="915566"/>
              <a:ext cx="719137" cy="720725"/>
            </a:xfrm>
            <a:custGeom>
              <a:avLst/>
              <a:gdLst>
                <a:gd name="T0" fmla="*/ 587 w 1174"/>
                <a:gd name="T1" fmla="*/ 0 h 1174"/>
                <a:gd name="T2" fmla="*/ 0 w 1174"/>
                <a:gd name="T3" fmla="*/ 587 h 1174"/>
                <a:gd name="T4" fmla="*/ 587 w 1174"/>
                <a:gd name="T5" fmla="*/ 1174 h 1174"/>
                <a:gd name="T6" fmla="*/ 1174 w 1174"/>
                <a:gd name="T7" fmla="*/ 587 h 1174"/>
                <a:gd name="T8" fmla="*/ 587 w 1174"/>
                <a:gd name="T9" fmla="*/ 0 h 1174"/>
                <a:gd name="T10" fmla="*/ 910 w 1174"/>
                <a:gd name="T11" fmla="*/ 817 h 1174"/>
                <a:gd name="T12" fmla="*/ 866 w 1174"/>
                <a:gd name="T13" fmla="*/ 838 h 1174"/>
                <a:gd name="T14" fmla="*/ 308 w 1174"/>
                <a:gd name="T15" fmla="*/ 838 h 1174"/>
                <a:gd name="T16" fmla="*/ 264 w 1174"/>
                <a:gd name="T17" fmla="*/ 817 h 1174"/>
                <a:gd name="T18" fmla="*/ 266 w 1174"/>
                <a:gd name="T19" fmla="*/ 767 h 1174"/>
                <a:gd name="T20" fmla="*/ 548 w 1174"/>
                <a:gd name="T21" fmla="*/ 234 h 1174"/>
                <a:gd name="T22" fmla="*/ 587 w 1174"/>
                <a:gd name="T23" fmla="*/ 206 h 1174"/>
                <a:gd name="T24" fmla="*/ 626 w 1174"/>
                <a:gd name="T25" fmla="*/ 234 h 1174"/>
                <a:gd name="T26" fmla="*/ 909 w 1174"/>
                <a:gd name="T27" fmla="*/ 767 h 1174"/>
                <a:gd name="T28" fmla="*/ 910 w 1174"/>
                <a:gd name="T29" fmla="*/ 817 h 1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74" h="1174">
                  <a:moveTo>
                    <a:pt x="587" y="0"/>
                  </a:moveTo>
                  <a:cubicBezTo>
                    <a:pt x="264" y="0"/>
                    <a:pt x="0" y="263"/>
                    <a:pt x="0" y="587"/>
                  </a:cubicBezTo>
                  <a:cubicBezTo>
                    <a:pt x="0" y="911"/>
                    <a:pt x="264" y="1174"/>
                    <a:pt x="587" y="1174"/>
                  </a:cubicBezTo>
                  <a:cubicBezTo>
                    <a:pt x="911" y="1174"/>
                    <a:pt x="1174" y="911"/>
                    <a:pt x="1174" y="587"/>
                  </a:cubicBezTo>
                  <a:cubicBezTo>
                    <a:pt x="1174" y="263"/>
                    <a:pt x="911" y="0"/>
                    <a:pt x="587" y="0"/>
                  </a:cubicBezTo>
                  <a:close/>
                  <a:moveTo>
                    <a:pt x="910" y="817"/>
                  </a:moveTo>
                  <a:cubicBezTo>
                    <a:pt x="902" y="830"/>
                    <a:pt x="886" y="838"/>
                    <a:pt x="866" y="838"/>
                  </a:cubicBezTo>
                  <a:cubicBezTo>
                    <a:pt x="308" y="838"/>
                    <a:pt x="308" y="838"/>
                    <a:pt x="308" y="838"/>
                  </a:cubicBezTo>
                  <a:cubicBezTo>
                    <a:pt x="288" y="838"/>
                    <a:pt x="272" y="830"/>
                    <a:pt x="264" y="817"/>
                  </a:cubicBezTo>
                  <a:cubicBezTo>
                    <a:pt x="256" y="803"/>
                    <a:pt x="257" y="785"/>
                    <a:pt x="266" y="767"/>
                  </a:cubicBezTo>
                  <a:cubicBezTo>
                    <a:pt x="548" y="234"/>
                    <a:pt x="548" y="234"/>
                    <a:pt x="548" y="234"/>
                  </a:cubicBezTo>
                  <a:cubicBezTo>
                    <a:pt x="561" y="209"/>
                    <a:pt x="578" y="206"/>
                    <a:pt x="587" y="206"/>
                  </a:cubicBezTo>
                  <a:cubicBezTo>
                    <a:pt x="596" y="206"/>
                    <a:pt x="613" y="209"/>
                    <a:pt x="626" y="234"/>
                  </a:cubicBezTo>
                  <a:cubicBezTo>
                    <a:pt x="909" y="767"/>
                    <a:pt x="909" y="767"/>
                    <a:pt x="909" y="767"/>
                  </a:cubicBezTo>
                  <a:cubicBezTo>
                    <a:pt x="918" y="785"/>
                    <a:pt x="919" y="803"/>
                    <a:pt x="910" y="817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</p:grpSp>
      <p:sp>
        <p:nvSpPr>
          <p:cNvPr id="18" name="正方形/長方形 17"/>
          <p:cNvSpPr/>
          <p:nvPr/>
        </p:nvSpPr>
        <p:spPr>
          <a:xfrm>
            <a:off x="4120786" y="3550984"/>
            <a:ext cx="3771504" cy="196851"/>
          </a:xfrm>
          <a:prstGeom prst="rect">
            <a:avLst/>
          </a:prstGeom>
          <a:solidFill>
            <a:srgbClr val="EBEBEB"/>
          </a:solidFill>
        </p:spPr>
        <p:txBody>
          <a:bodyPr rot="0" spcFirstLastPara="0" vertOverflow="overflow" horzOverflow="overflow" vert="horz" wrap="square" lIns="99060" tIns="49530" rIns="99060" bIns="495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3033" smtClean="0"/>
          </a:p>
        </p:txBody>
      </p:sp>
      <p:sp>
        <p:nvSpPr>
          <p:cNvPr id="22" name="正方形/長方形 21"/>
          <p:cNvSpPr/>
          <p:nvPr/>
        </p:nvSpPr>
        <p:spPr>
          <a:xfrm>
            <a:off x="5224215" y="3201957"/>
            <a:ext cx="2183480" cy="196851"/>
          </a:xfrm>
          <a:prstGeom prst="rect">
            <a:avLst/>
          </a:prstGeom>
          <a:solidFill>
            <a:srgbClr val="EBEBEB"/>
          </a:solidFill>
        </p:spPr>
        <p:txBody>
          <a:bodyPr rot="0" spcFirstLastPara="0" vertOverflow="overflow" horzOverflow="overflow" vert="horz" wrap="square" lIns="99060" tIns="49530" rIns="99060" bIns="495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3033" smtClean="0"/>
          </a:p>
        </p:txBody>
      </p:sp>
      <p:sp>
        <p:nvSpPr>
          <p:cNvPr id="25" name="正方形/長方形 24"/>
          <p:cNvSpPr/>
          <p:nvPr/>
        </p:nvSpPr>
        <p:spPr>
          <a:xfrm>
            <a:off x="3720568" y="2964133"/>
            <a:ext cx="5792931" cy="196851"/>
          </a:xfrm>
          <a:prstGeom prst="rect">
            <a:avLst/>
          </a:prstGeom>
          <a:solidFill>
            <a:srgbClr val="EBEBEB"/>
          </a:solidFill>
        </p:spPr>
        <p:txBody>
          <a:bodyPr rot="0" spcFirstLastPara="0" vertOverflow="overflow" horzOverflow="overflow" vert="horz" wrap="square" lIns="99060" tIns="49530" rIns="99060" bIns="495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3033" smtClean="0"/>
          </a:p>
        </p:txBody>
      </p:sp>
      <p:sp>
        <p:nvSpPr>
          <p:cNvPr id="26" name="禁止 25"/>
          <p:cNvSpPr/>
          <p:nvPr/>
        </p:nvSpPr>
        <p:spPr bwMode="gray">
          <a:xfrm>
            <a:off x="386713" y="2054067"/>
            <a:ext cx="2067212" cy="2544261"/>
          </a:xfrm>
          <a:prstGeom prst="noSmoking">
            <a:avLst>
              <a:gd name="adj" fmla="val 11248"/>
            </a:avLst>
          </a:prstGeom>
          <a:solidFill>
            <a:schemeClr val="accent6"/>
          </a:solidFill>
          <a:ln w="28575">
            <a:solidFill>
              <a:schemeClr val="bg1"/>
            </a:solidFill>
          </a:ln>
        </p:spPr>
        <p:txBody>
          <a:bodyPr rot="0" spcFirstLastPara="0" vertOverflow="overflow" horzOverflow="overflow" vert="horz" wrap="square" lIns="99060" tIns="49530" rIns="99060" bIns="495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3033" smtClean="0"/>
          </a:p>
        </p:txBody>
      </p:sp>
      <p:sp>
        <p:nvSpPr>
          <p:cNvPr id="27" name="テキストボックス"/>
          <p:cNvSpPr/>
          <p:nvPr/>
        </p:nvSpPr>
        <p:spPr>
          <a:xfrm>
            <a:off x="2768758" y="2103540"/>
            <a:ext cx="6750290" cy="19254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92100" lvl="0" indent="0" algn="l">
              <a:lnSpc>
                <a:spcPct val="114000"/>
              </a:lnSpc>
              <a:spcBef>
                <a:spcPts val="217"/>
              </a:spcBef>
              <a:spcAft>
                <a:spcPts val="217"/>
              </a:spcAft>
            </a:pPr>
            <a:r>
              <a:rPr lang="ja-JP" altLang="en-US" sz="1950" b="1" kern="0" dirty="0" smtClean="0">
                <a:ln>
                  <a:noFill/>
                </a:ln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転載・流用禁止</a:t>
            </a:r>
            <a:endParaRPr lang="en-US" altLang="ja-JP" sz="1950" b="1" kern="0" dirty="0" smtClean="0">
              <a:ln>
                <a:noFill/>
              </a:ln>
              <a:latin typeface="ＭＳ Ｐゴシック" panose="020B0600070205080204" pitchFamily="50" charset="-128"/>
              <a:ea typeface="ＭＳ Ｐゴシック" panose="020B0600070205080204" pitchFamily="50" charset="-128"/>
              <a:cs typeface="メイリオ" pitchFamily="50" charset="-128"/>
            </a:endParaRPr>
          </a:p>
          <a:p>
            <a:pPr marL="0" lvl="0" indent="0" algn="just">
              <a:lnSpc>
                <a:spcPct val="130000"/>
              </a:lnSpc>
              <a:spcBef>
                <a:spcPts val="325"/>
              </a:spcBef>
              <a:spcAft>
                <a:spcPts val="325"/>
              </a:spcAft>
            </a:pPr>
            <a:r>
              <a:rPr lang="ja-JP" altLang="en-US" sz="975" kern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研修テキスト</a:t>
            </a:r>
            <a:r>
              <a:rPr lang="ja-JP" altLang="ja-JP" sz="975" kern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に</a:t>
            </a:r>
            <a:r>
              <a:rPr lang="ja-JP" altLang="ja-JP" sz="975" kern="0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記載されている内容の著作権は</a:t>
            </a:r>
            <a:r>
              <a:rPr lang="ja-JP" altLang="ja-JP" sz="975" kern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すべて</a:t>
            </a:r>
            <a:r>
              <a:rPr lang="ja-JP" altLang="en-US" sz="975" kern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株式会社ラーニングエージェンシー（</a:t>
            </a:r>
            <a:r>
              <a:rPr lang="ja-JP" altLang="en-US" sz="975" kern="0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以下「当社」といいます</a:t>
            </a:r>
            <a:r>
              <a:rPr lang="ja-JP" altLang="en-US" sz="975" kern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）</a:t>
            </a:r>
            <a:r>
              <a:rPr lang="ja-JP" altLang="ja-JP" sz="975" kern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に帰属</a:t>
            </a:r>
            <a:r>
              <a:rPr lang="ja-JP" altLang="ja-JP" sz="975" kern="0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します</a:t>
            </a:r>
            <a:r>
              <a:rPr lang="ja-JP" altLang="ja-JP" sz="975" kern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。</a:t>
            </a:r>
            <a:endParaRPr lang="en-US" altLang="ja-JP" sz="975" kern="0" dirty="0" smtClean="0">
              <a:latin typeface="ＭＳ Ｐゴシック" panose="020B0600070205080204" pitchFamily="50" charset="-128"/>
              <a:ea typeface="ＭＳ Ｐゴシック" panose="020B0600070205080204" pitchFamily="50" charset="-128"/>
              <a:cs typeface="メイリオ" pitchFamily="50" charset="-128"/>
            </a:endParaRPr>
          </a:p>
          <a:p>
            <a:pPr marL="0" lvl="0" indent="0" algn="just">
              <a:lnSpc>
                <a:spcPct val="130000"/>
              </a:lnSpc>
              <a:spcBef>
                <a:spcPts val="325"/>
              </a:spcBef>
              <a:spcAft>
                <a:spcPts val="325"/>
              </a:spcAft>
            </a:pPr>
            <a:r>
              <a:rPr lang="ja-JP" altLang="ja-JP" sz="975" kern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著作権法</a:t>
            </a:r>
            <a:r>
              <a:rPr lang="ja-JP" altLang="ja-JP" sz="975" kern="0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により、</a:t>
            </a:r>
            <a:r>
              <a:rPr lang="ja-JP" altLang="en-US" sz="975" b="1" kern="0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当社</a:t>
            </a:r>
            <a:r>
              <a:rPr lang="ja-JP" altLang="ja-JP" sz="975" b="1" kern="0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に無断で</a:t>
            </a:r>
            <a:r>
              <a:rPr lang="ja-JP" altLang="en-US" sz="975" b="1" kern="0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本資料に記載されている内容の</a:t>
            </a:r>
            <a:r>
              <a:rPr lang="ja-JP" altLang="en-US" sz="975" b="1" kern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全部また</a:t>
            </a:r>
            <a:r>
              <a:rPr lang="ja-JP" altLang="en-US" sz="975" b="1" kern="0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は一部を</a:t>
            </a:r>
            <a:r>
              <a:rPr lang="ja-JP" altLang="ja-JP" sz="975" b="1" kern="0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転載、複製等をすることはできません</a:t>
            </a:r>
            <a:r>
              <a:rPr lang="ja-JP" altLang="ja-JP" sz="975" b="1" kern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。</a:t>
            </a:r>
            <a:r>
              <a:rPr lang="en-US" altLang="ja-JP" sz="975" b="1" kern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/>
            </a:r>
            <a:br>
              <a:rPr lang="en-US" altLang="ja-JP" sz="975" b="1" kern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</a:br>
            <a:r>
              <a:rPr lang="ja-JP" altLang="en-US" sz="975" kern="0" spc="87" baseline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当社</a:t>
            </a:r>
            <a:r>
              <a:rPr lang="ja-JP" altLang="en-US" sz="975" kern="0" spc="87" baseline="0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に対する権利侵害を</a:t>
            </a:r>
            <a:r>
              <a:rPr lang="ja-JP" altLang="ja-JP" sz="975" kern="0" spc="87" baseline="0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発見した場合は</a:t>
            </a:r>
            <a:r>
              <a:rPr lang="ja-JP" altLang="ja-JP" sz="975" kern="0" spc="87" baseline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、</a:t>
            </a:r>
            <a:r>
              <a:rPr lang="en-US" altLang="ja-JP" sz="975" kern="0" spc="87" baseline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 </a:t>
            </a:r>
            <a:r>
              <a:rPr lang="ja-JP" altLang="en-US" sz="975" b="1" kern="0" spc="87" baseline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損害</a:t>
            </a:r>
            <a:r>
              <a:rPr lang="ja-JP" altLang="en-US" sz="975" b="1" kern="0" spc="87" baseline="0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賠償請求</a:t>
            </a:r>
            <a:r>
              <a:rPr lang="ja-JP" altLang="ja-JP" sz="975" b="1" kern="0" spc="87" baseline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を含む必要</a:t>
            </a:r>
            <a:r>
              <a:rPr lang="ja-JP" altLang="ja-JP" sz="975" b="1" kern="0" spc="87" baseline="0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な</a:t>
            </a:r>
            <a:r>
              <a:rPr lang="ja-JP" altLang="en-US" sz="975" b="1" kern="0" spc="87" baseline="0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法的</a:t>
            </a:r>
            <a:r>
              <a:rPr lang="ja-JP" altLang="ja-JP" sz="975" b="1" kern="0" spc="87" baseline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措置</a:t>
            </a:r>
            <a:r>
              <a:rPr lang="en-US" altLang="ja-JP" sz="975" b="1" kern="0" spc="87" baseline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 </a:t>
            </a:r>
            <a:r>
              <a:rPr lang="ja-JP" altLang="ja-JP" sz="975" kern="0" spc="87" baseline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を</a:t>
            </a:r>
            <a:r>
              <a:rPr lang="ja-JP" altLang="ja-JP" sz="975" kern="0" spc="87" baseline="0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取らせて</a:t>
            </a:r>
            <a:r>
              <a:rPr lang="ja-JP" altLang="en-US" sz="975" kern="0" spc="87" baseline="0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いただきます</a:t>
            </a:r>
            <a:r>
              <a:rPr lang="ja-JP" altLang="ja-JP" sz="975" kern="0" spc="87" baseline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。</a:t>
            </a:r>
            <a:endParaRPr lang="en-US" altLang="ja-JP" sz="975" kern="0" spc="87" baseline="0" dirty="0" smtClean="0">
              <a:latin typeface="ＭＳ Ｐゴシック" panose="020B0600070205080204" pitchFamily="50" charset="-128"/>
              <a:ea typeface="ＭＳ Ｐゴシック" panose="020B0600070205080204" pitchFamily="50" charset="-128"/>
              <a:cs typeface="メイリオ" pitchFamily="50" charset="-128"/>
            </a:endParaRPr>
          </a:p>
          <a:p>
            <a:pPr marL="0" lvl="0" indent="0" algn="just">
              <a:lnSpc>
                <a:spcPct val="130000"/>
              </a:lnSpc>
              <a:spcBef>
                <a:spcPts val="325"/>
              </a:spcBef>
              <a:spcAft>
                <a:spcPts val="0"/>
              </a:spcAft>
            </a:pPr>
            <a:r>
              <a:rPr lang="ja-JP" altLang="en-US" sz="975" kern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また、研修内容や見解を、</a:t>
            </a:r>
            <a:r>
              <a:rPr lang="ja-JP" altLang="en-US" sz="975" b="1" kern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当社の事前の承諾なくインターネットに掲載する等の行為はできません。</a:t>
            </a:r>
            <a:endParaRPr lang="en-US" altLang="ja-JP" sz="975" b="1" kern="0" dirty="0" smtClean="0">
              <a:latin typeface="ＭＳ Ｐゴシック" panose="020B0600070205080204" pitchFamily="50" charset="-128"/>
              <a:ea typeface="ＭＳ Ｐゴシック" panose="020B0600070205080204" pitchFamily="50" charset="-128"/>
              <a:cs typeface="メイリオ" pitchFamily="50" charset="-128"/>
            </a:endParaRPr>
          </a:p>
          <a:p>
            <a:pPr marL="0" lvl="0" indent="0" algn="just">
              <a:lnSpc>
                <a:spcPct val="130000"/>
              </a:lnSpc>
              <a:spcBef>
                <a:spcPts val="0"/>
              </a:spcBef>
              <a:spcAft>
                <a:spcPts val="325"/>
              </a:spcAft>
            </a:pPr>
            <a:r>
              <a:rPr lang="ja-JP" altLang="en-US" sz="975" kern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研修で講師等が説明、または補足をした背景事情や前提を知り得ない第三者が、そのようなインターネット上の掲載に基づき</a:t>
            </a:r>
            <a:r>
              <a:rPr lang="en-US" altLang="ja-JP" sz="975" kern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/>
            </a:r>
            <a:br>
              <a:rPr lang="en-US" altLang="ja-JP" sz="975" kern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</a:br>
            <a:r>
              <a:rPr lang="ja-JP" altLang="en-US" sz="975" kern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誤った判断をする等の懸念もあるため、発見した場合は必要に応じ、掲載の差し止めを含む法的措置を取らせていただく場合が</a:t>
            </a:r>
            <a:r>
              <a:rPr lang="en-US" altLang="ja-JP" sz="975" kern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/>
            </a:r>
            <a:br>
              <a:rPr lang="en-US" altLang="ja-JP" sz="975" kern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</a:br>
            <a:r>
              <a:rPr lang="ja-JP" altLang="en-US" sz="975" kern="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itchFamily="50" charset="-128"/>
              </a:rPr>
              <a:t>ございます。</a:t>
            </a:r>
          </a:p>
        </p:txBody>
      </p:sp>
      <p:sp>
        <p:nvSpPr>
          <p:cNvPr id="28" name="正方形/長方形 27"/>
          <p:cNvSpPr/>
          <p:nvPr/>
        </p:nvSpPr>
        <p:spPr bwMode="gray">
          <a:xfrm>
            <a:off x="390393" y="6327865"/>
            <a:ext cx="9128654" cy="2634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marL="0" indent="0" algn="l"/>
            <a:r>
              <a:rPr lang="en-US" altLang="ja-JP" sz="867" dirty="0" smtClean="0"/>
              <a:t>* </a:t>
            </a:r>
            <a:r>
              <a:rPr lang="ja-JP" altLang="en-US" sz="867" dirty="0" smtClean="0"/>
              <a:t>本テキストに記載されている社名、システム名、製品名などの固有名詞は、各社の商標または登録商標です。なお、本文および図表中において、必ずしも商標表示（ </a:t>
            </a:r>
            <a:r>
              <a:rPr lang="en-US" altLang="ja-JP" sz="867" dirty="0" smtClean="0"/>
              <a:t>®</a:t>
            </a:r>
            <a:r>
              <a:rPr lang="ja-JP" altLang="en-US" sz="867" dirty="0" err="1" smtClean="0"/>
              <a:t>、</a:t>
            </a:r>
            <a:r>
              <a:rPr lang="en-US" altLang="ja-JP" sz="867" dirty="0" smtClean="0"/>
              <a:t>TM </a:t>
            </a:r>
            <a:r>
              <a:rPr lang="ja-JP" altLang="en-US" sz="867" dirty="0" smtClean="0"/>
              <a:t>）は付記していません。</a:t>
            </a:r>
            <a:endParaRPr lang="ja-JP" altLang="en-US" sz="867" dirty="0"/>
          </a:p>
        </p:txBody>
      </p:sp>
    </p:spTree>
    <p:extLst>
      <p:ext uri="{BB962C8B-B14F-4D97-AF65-F5344CB8AC3E}">
        <p14:creationId xmlns:p14="http://schemas.microsoft.com/office/powerpoint/2010/main" val="409234809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目次：LA_16_9_On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中表紙タイトル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1952" y="1316568"/>
            <a:ext cx="8541120" cy="720000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lIns="36000" tIns="0" rIns="0" bIns="0" anchor="ctr" anchorCtr="0">
            <a:noAutofit/>
          </a:bodyPr>
          <a:lstStyle>
            <a:lvl1pPr marL="19433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33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179388">
              <a:spcBef>
                <a:spcPts val="0"/>
              </a:spcBef>
              <a:spcAft>
                <a:spcPts val="0"/>
              </a:spcAft>
            </a:pPr>
            <a:r>
              <a:rPr lang="ja-JP" altLang="en-US" sz="3033" dirty="0" smtClean="0">
                <a:solidFill>
                  <a:prstClr val="black"/>
                </a:solidFill>
              </a:rPr>
              <a:t>目次（</a:t>
            </a:r>
            <a:r>
              <a:rPr lang="en-US" altLang="ja-JP" sz="3033" dirty="0" smtClean="0">
                <a:solidFill>
                  <a:prstClr val="black"/>
                </a:solidFill>
              </a:rPr>
              <a:t>1</a:t>
            </a:r>
            <a:r>
              <a:rPr lang="ja-JP" altLang="en-US" sz="3033" dirty="0" smtClean="0">
                <a:solidFill>
                  <a:prstClr val="black"/>
                </a:solidFill>
              </a:rPr>
              <a:t>行以内／</a:t>
            </a:r>
            <a:r>
              <a:rPr lang="en-US" altLang="ja-JP" sz="3033" dirty="0" smtClean="0">
                <a:solidFill>
                  <a:prstClr val="black"/>
                </a:solidFill>
              </a:rPr>
              <a:t>28pt</a:t>
            </a:r>
            <a:r>
              <a:rPr lang="ja-JP" altLang="en-US" sz="3033" dirty="0" smtClean="0">
                <a:solidFill>
                  <a:prstClr val="black"/>
                </a:solidFill>
              </a:rPr>
              <a:t>）</a:t>
            </a:r>
          </a:p>
        </p:txBody>
      </p:sp>
      <p:sp>
        <p:nvSpPr>
          <p:cNvPr id="11" name="テキスト ボックス 10"/>
          <p:cNvSpPr txBox="1"/>
          <p:nvPr/>
        </p:nvSpPr>
        <p:spPr>
          <a:xfrm>
            <a:off x="390393" y="476251"/>
            <a:ext cx="9124399" cy="647700"/>
          </a:xfrm>
          <a:prstGeom prst="rect">
            <a:avLst/>
          </a:prstGeom>
          <a:noFill/>
        </p:spPr>
        <p:txBody>
          <a:bodyPr wrap="square" lIns="39000" tIns="39000" rIns="39000" bIns="39000" rtlCol="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3033" b="1" dirty="0" smtClean="0"/>
              <a:t>目次</a:t>
            </a:r>
          </a:p>
        </p:txBody>
      </p:sp>
      <p:sp>
        <p:nvSpPr>
          <p:cNvPr id="12" name="中表紙タイトル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71952" y="2121840"/>
            <a:ext cx="8541120" cy="720000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lIns="36000" tIns="0" rIns="0" bIns="0" anchor="ctr" anchorCtr="0">
            <a:noAutofit/>
          </a:bodyPr>
          <a:lstStyle>
            <a:lvl1pPr marL="19433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33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179388">
              <a:spcBef>
                <a:spcPts val="0"/>
              </a:spcBef>
              <a:spcAft>
                <a:spcPts val="0"/>
              </a:spcAft>
            </a:pPr>
            <a:r>
              <a:rPr lang="ja-JP" altLang="en-US" sz="3033" dirty="0" smtClean="0">
                <a:solidFill>
                  <a:prstClr val="black"/>
                </a:solidFill>
              </a:rPr>
              <a:t>目次（</a:t>
            </a:r>
            <a:r>
              <a:rPr lang="en-US" altLang="ja-JP" sz="3033" dirty="0" smtClean="0">
                <a:solidFill>
                  <a:prstClr val="black"/>
                </a:solidFill>
              </a:rPr>
              <a:t>1</a:t>
            </a:r>
            <a:r>
              <a:rPr lang="ja-JP" altLang="en-US" sz="3033" dirty="0" smtClean="0">
                <a:solidFill>
                  <a:prstClr val="black"/>
                </a:solidFill>
              </a:rPr>
              <a:t>行以内／</a:t>
            </a:r>
            <a:r>
              <a:rPr lang="en-US" altLang="ja-JP" sz="3033" dirty="0" smtClean="0">
                <a:solidFill>
                  <a:prstClr val="black"/>
                </a:solidFill>
              </a:rPr>
              <a:t>28pt</a:t>
            </a:r>
            <a:r>
              <a:rPr lang="ja-JP" altLang="en-US" sz="3033" dirty="0" smtClean="0">
                <a:solidFill>
                  <a:prstClr val="black"/>
                </a:solidFill>
              </a:rPr>
              <a:t>）</a:t>
            </a:r>
          </a:p>
        </p:txBody>
      </p:sp>
      <p:sp>
        <p:nvSpPr>
          <p:cNvPr id="13" name="中表紙タイトル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71952" y="2927112"/>
            <a:ext cx="8541120" cy="720000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lIns="36000" tIns="0" rIns="0" bIns="0" anchor="ctr" anchorCtr="0">
            <a:noAutofit/>
          </a:bodyPr>
          <a:lstStyle>
            <a:lvl1pPr marL="19433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33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179388">
              <a:spcBef>
                <a:spcPts val="0"/>
              </a:spcBef>
              <a:spcAft>
                <a:spcPts val="0"/>
              </a:spcAft>
            </a:pPr>
            <a:r>
              <a:rPr lang="ja-JP" altLang="en-US" sz="3033" dirty="0" smtClean="0">
                <a:solidFill>
                  <a:prstClr val="black"/>
                </a:solidFill>
              </a:rPr>
              <a:t>目次（</a:t>
            </a:r>
            <a:r>
              <a:rPr lang="en-US" altLang="ja-JP" sz="3033" dirty="0" smtClean="0">
                <a:solidFill>
                  <a:prstClr val="black"/>
                </a:solidFill>
              </a:rPr>
              <a:t>1</a:t>
            </a:r>
            <a:r>
              <a:rPr lang="ja-JP" altLang="en-US" sz="3033" dirty="0" smtClean="0">
                <a:solidFill>
                  <a:prstClr val="black"/>
                </a:solidFill>
              </a:rPr>
              <a:t>行以内／</a:t>
            </a:r>
            <a:r>
              <a:rPr lang="en-US" altLang="ja-JP" sz="3033" dirty="0" smtClean="0">
                <a:solidFill>
                  <a:prstClr val="black"/>
                </a:solidFill>
              </a:rPr>
              <a:t>28pt</a:t>
            </a:r>
            <a:r>
              <a:rPr lang="ja-JP" altLang="en-US" sz="3033" dirty="0" smtClean="0">
                <a:solidFill>
                  <a:prstClr val="black"/>
                </a:solidFill>
              </a:rPr>
              <a:t>）</a:t>
            </a:r>
          </a:p>
        </p:txBody>
      </p:sp>
      <p:sp>
        <p:nvSpPr>
          <p:cNvPr id="14" name="中表紙タイトル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71952" y="3732384"/>
            <a:ext cx="8541120" cy="720000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lIns="36000" tIns="0" rIns="0" bIns="0" anchor="ctr" anchorCtr="0">
            <a:noAutofit/>
          </a:bodyPr>
          <a:lstStyle>
            <a:lvl1pPr marL="19433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33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179388">
              <a:spcBef>
                <a:spcPts val="0"/>
              </a:spcBef>
              <a:spcAft>
                <a:spcPts val="0"/>
              </a:spcAft>
            </a:pPr>
            <a:r>
              <a:rPr lang="ja-JP" altLang="en-US" sz="3033" dirty="0" smtClean="0">
                <a:solidFill>
                  <a:prstClr val="black"/>
                </a:solidFill>
              </a:rPr>
              <a:t>目次（</a:t>
            </a:r>
            <a:r>
              <a:rPr lang="en-US" altLang="ja-JP" sz="3033" dirty="0" smtClean="0">
                <a:solidFill>
                  <a:prstClr val="black"/>
                </a:solidFill>
              </a:rPr>
              <a:t>1</a:t>
            </a:r>
            <a:r>
              <a:rPr lang="ja-JP" altLang="en-US" sz="3033" dirty="0" smtClean="0">
                <a:solidFill>
                  <a:prstClr val="black"/>
                </a:solidFill>
              </a:rPr>
              <a:t>行以内／</a:t>
            </a:r>
            <a:r>
              <a:rPr lang="en-US" altLang="ja-JP" sz="3033" dirty="0" smtClean="0">
                <a:solidFill>
                  <a:prstClr val="black"/>
                </a:solidFill>
              </a:rPr>
              <a:t>28pt</a:t>
            </a:r>
            <a:r>
              <a:rPr lang="ja-JP" altLang="en-US" sz="3033" dirty="0" smtClean="0">
                <a:solidFill>
                  <a:prstClr val="black"/>
                </a:solidFill>
              </a:rPr>
              <a:t>）</a:t>
            </a:r>
          </a:p>
        </p:txBody>
      </p:sp>
      <p:sp>
        <p:nvSpPr>
          <p:cNvPr id="15" name="中表紙タイトル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71952" y="4537656"/>
            <a:ext cx="8541120" cy="720000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lIns="36000" tIns="0" rIns="0" bIns="0" anchor="ctr" anchorCtr="0">
            <a:noAutofit/>
          </a:bodyPr>
          <a:lstStyle>
            <a:lvl1pPr marL="19433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33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179388">
              <a:spcBef>
                <a:spcPts val="0"/>
              </a:spcBef>
              <a:spcAft>
                <a:spcPts val="0"/>
              </a:spcAft>
            </a:pPr>
            <a:r>
              <a:rPr lang="ja-JP" altLang="en-US" sz="3033" dirty="0" smtClean="0">
                <a:solidFill>
                  <a:prstClr val="black"/>
                </a:solidFill>
              </a:rPr>
              <a:t>目次（</a:t>
            </a:r>
            <a:r>
              <a:rPr lang="en-US" altLang="ja-JP" sz="3033" dirty="0" smtClean="0">
                <a:solidFill>
                  <a:prstClr val="black"/>
                </a:solidFill>
              </a:rPr>
              <a:t>1</a:t>
            </a:r>
            <a:r>
              <a:rPr lang="ja-JP" altLang="en-US" sz="3033" dirty="0" smtClean="0">
                <a:solidFill>
                  <a:prstClr val="black"/>
                </a:solidFill>
              </a:rPr>
              <a:t>行以内／</a:t>
            </a:r>
            <a:r>
              <a:rPr lang="en-US" altLang="ja-JP" sz="3033" dirty="0" smtClean="0">
                <a:solidFill>
                  <a:prstClr val="black"/>
                </a:solidFill>
              </a:rPr>
              <a:t>28pt</a:t>
            </a:r>
            <a:r>
              <a:rPr lang="ja-JP" altLang="en-US" sz="3033" dirty="0" smtClean="0">
                <a:solidFill>
                  <a:prstClr val="black"/>
                </a:solidFill>
              </a:rPr>
              <a:t>）</a:t>
            </a:r>
          </a:p>
        </p:txBody>
      </p:sp>
      <p:sp>
        <p:nvSpPr>
          <p:cNvPr id="16" name="中表紙タイトル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71952" y="5342927"/>
            <a:ext cx="8541120" cy="720000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lIns="36000" tIns="0" rIns="0" bIns="0" anchor="ctr" anchorCtr="0">
            <a:noAutofit/>
          </a:bodyPr>
          <a:lstStyle>
            <a:lvl1pPr marL="19433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33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179388">
              <a:spcBef>
                <a:spcPts val="0"/>
              </a:spcBef>
              <a:spcAft>
                <a:spcPts val="0"/>
              </a:spcAft>
            </a:pPr>
            <a:r>
              <a:rPr lang="ja-JP" altLang="en-US" sz="3033" dirty="0" smtClean="0">
                <a:solidFill>
                  <a:prstClr val="black"/>
                </a:solidFill>
              </a:rPr>
              <a:t>目次（</a:t>
            </a:r>
            <a:r>
              <a:rPr lang="en-US" altLang="ja-JP" sz="3033" dirty="0" smtClean="0">
                <a:solidFill>
                  <a:prstClr val="black"/>
                </a:solidFill>
              </a:rPr>
              <a:t>1</a:t>
            </a:r>
            <a:r>
              <a:rPr lang="ja-JP" altLang="en-US" sz="3033" dirty="0" smtClean="0">
                <a:solidFill>
                  <a:prstClr val="black"/>
                </a:solidFill>
              </a:rPr>
              <a:t>行以内／</a:t>
            </a:r>
            <a:r>
              <a:rPr lang="en-US" altLang="ja-JP" sz="3033" dirty="0" smtClean="0">
                <a:solidFill>
                  <a:prstClr val="black"/>
                </a:solidFill>
              </a:rPr>
              <a:t>28pt</a:t>
            </a:r>
            <a:r>
              <a:rPr lang="ja-JP" altLang="en-US" sz="3033" dirty="0" smtClean="0">
                <a:solidFill>
                  <a:prstClr val="black"/>
                </a:solidFill>
              </a:rPr>
              <a:t>）</a:t>
            </a:r>
          </a:p>
        </p:txBody>
      </p:sp>
      <p:sp>
        <p:nvSpPr>
          <p:cNvPr id="17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90394" y="1316568"/>
            <a:ext cx="583279" cy="720000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txBody>
          <a:bodyPr lIns="0" tIns="0" rIns="0" bIns="0" anchor="ctr"/>
          <a:lstStyle>
            <a:lvl1pPr marL="0" indent="0" algn="ctr">
              <a:buFontTx/>
              <a:buNone/>
              <a:defRPr sz="3467" b="1">
                <a:ln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kumimoji="1" lang="en-US" altLang="ja-JP" dirty="0" smtClean="0"/>
              <a:t>X</a:t>
            </a:r>
            <a:endParaRPr kumimoji="1" lang="ja-JP" altLang="en-US" dirty="0"/>
          </a:p>
        </p:txBody>
      </p:sp>
      <p:sp>
        <p:nvSpPr>
          <p:cNvPr id="18" name="テキスト プレースホルダー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90394" y="2121840"/>
            <a:ext cx="583279" cy="720000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txBody>
          <a:bodyPr lIns="0" tIns="0" rIns="0" bIns="0" anchor="ctr"/>
          <a:lstStyle>
            <a:lvl1pPr marL="0" indent="0" algn="ctr">
              <a:buFontTx/>
              <a:buNone/>
              <a:defRPr sz="3467" b="1">
                <a:ln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kumimoji="1" lang="en-US" altLang="ja-JP" dirty="0" smtClean="0"/>
              <a:t>X</a:t>
            </a:r>
            <a:endParaRPr kumimoji="1" lang="ja-JP" altLang="en-US" dirty="0"/>
          </a:p>
        </p:txBody>
      </p:sp>
      <p:sp>
        <p:nvSpPr>
          <p:cNvPr id="19" name="テキスト プレースホルダー 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90394" y="2927112"/>
            <a:ext cx="583279" cy="720000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txBody>
          <a:bodyPr lIns="0" tIns="0" rIns="0" bIns="0" anchor="ctr"/>
          <a:lstStyle>
            <a:lvl1pPr marL="0" indent="0" algn="ctr">
              <a:buFontTx/>
              <a:buNone/>
              <a:defRPr sz="3467" b="1">
                <a:ln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kumimoji="1" lang="en-US" altLang="ja-JP" dirty="0" smtClean="0"/>
              <a:t>X</a:t>
            </a:r>
            <a:endParaRPr kumimoji="1" lang="ja-JP" altLang="en-US" dirty="0"/>
          </a:p>
        </p:txBody>
      </p:sp>
      <p:sp>
        <p:nvSpPr>
          <p:cNvPr id="20" name="テキスト プレースホルダー 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0394" y="3732384"/>
            <a:ext cx="583279" cy="720000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txBody>
          <a:bodyPr lIns="0" tIns="0" rIns="0" bIns="0" anchor="ctr"/>
          <a:lstStyle>
            <a:lvl1pPr marL="0" indent="0" algn="ctr">
              <a:buFontTx/>
              <a:buNone/>
              <a:defRPr sz="3467" b="1">
                <a:ln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kumimoji="1" lang="en-US" altLang="ja-JP" dirty="0" smtClean="0"/>
              <a:t>X</a:t>
            </a:r>
            <a:endParaRPr kumimoji="1" lang="ja-JP" altLang="en-US" dirty="0"/>
          </a:p>
        </p:txBody>
      </p:sp>
      <p:sp>
        <p:nvSpPr>
          <p:cNvPr id="21" name="テキスト プレースホルダー 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90394" y="4537656"/>
            <a:ext cx="583279" cy="720000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txBody>
          <a:bodyPr lIns="0" tIns="0" rIns="0" bIns="0" anchor="ctr"/>
          <a:lstStyle>
            <a:lvl1pPr marL="0" indent="0" algn="ctr">
              <a:buFontTx/>
              <a:buNone/>
              <a:defRPr sz="3467" b="1">
                <a:ln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kumimoji="1" lang="en-US" altLang="ja-JP" dirty="0" smtClean="0"/>
              <a:t>X</a:t>
            </a:r>
            <a:endParaRPr kumimoji="1" lang="ja-JP" altLang="en-US" dirty="0"/>
          </a:p>
        </p:txBody>
      </p:sp>
      <p:sp>
        <p:nvSpPr>
          <p:cNvPr id="22" name="テキスト プレースホルダー 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90394" y="5342927"/>
            <a:ext cx="583279" cy="720000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txBody>
          <a:bodyPr lIns="0" tIns="0" rIns="0" bIns="0" anchor="ctr"/>
          <a:lstStyle>
            <a:lvl1pPr marL="0" indent="0" algn="ctr">
              <a:buFontTx/>
              <a:buNone/>
              <a:defRPr sz="3467" b="1">
                <a:ln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kumimoji="1" lang="en-US" altLang="ja-JP" dirty="0" smtClean="0"/>
              <a:t>X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4620715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目次：LA_16_9_On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中表紙タイトル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7425" y="877320"/>
            <a:ext cx="8541120" cy="672272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lIns="36000" tIns="0" rIns="0" bIns="0" anchor="ctr" anchorCtr="0">
            <a:noAutofit/>
          </a:bodyPr>
          <a:lstStyle>
            <a:lvl1pPr marL="19433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33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179388">
              <a:spcBef>
                <a:spcPts val="0"/>
              </a:spcBef>
              <a:spcAft>
                <a:spcPts val="0"/>
              </a:spcAft>
            </a:pPr>
            <a:r>
              <a:rPr lang="ja-JP" altLang="en-US" sz="3033" dirty="0" smtClean="0">
                <a:solidFill>
                  <a:prstClr val="black"/>
                </a:solidFill>
              </a:rPr>
              <a:t>目次（</a:t>
            </a:r>
            <a:r>
              <a:rPr lang="en-US" altLang="ja-JP" sz="3033" dirty="0" smtClean="0">
                <a:solidFill>
                  <a:prstClr val="black"/>
                </a:solidFill>
              </a:rPr>
              <a:t>1</a:t>
            </a:r>
            <a:r>
              <a:rPr lang="ja-JP" altLang="en-US" sz="3033" dirty="0" smtClean="0">
                <a:solidFill>
                  <a:prstClr val="black"/>
                </a:solidFill>
              </a:rPr>
              <a:t>行以内／</a:t>
            </a:r>
            <a:r>
              <a:rPr lang="en-US" altLang="ja-JP" sz="3033" dirty="0" smtClean="0">
                <a:solidFill>
                  <a:prstClr val="black"/>
                </a:solidFill>
              </a:rPr>
              <a:t>28pt</a:t>
            </a:r>
            <a:r>
              <a:rPr lang="ja-JP" altLang="en-US" sz="3033" dirty="0" smtClean="0">
                <a:solidFill>
                  <a:prstClr val="black"/>
                </a:solidFill>
              </a:rPr>
              <a:t>）</a:t>
            </a:r>
          </a:p>
        </p:txBody>
      </p:sp>
      <p:sp>
        <p:nvSpPr>
          <p:cNvPr id="25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95867" y="877320"/>
            <a:ext cx="583279" cy="672272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txBody>
          <a:bodyPr lIns="0" tIns="0" rIns="0" bIns="0" anchor="ctr"/>
          <a:lstStyle>
            <a:lvl1pPr marL="0" indent="0" algn="ctr">
              <a:buFontTx/>
              <a:buNone/>
              <a:defRPr sz="3467" b="1">
                <a:ln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kumimoji="1" lang="en-US" altLang="ja-JP" dirty="0" smtClean="0"/>
              <a:t>X</a:t>
            </a:r>
            <a:endParaRPr kumimoji="1" lang="ja-JP" altLang="en-US" dirty="0"/>
          </a:p>
        </p:txBody>
      </p:sp>
      <p:sp>
        <p:nvSpPr>
          <p:cNvPr id="26" name="中表紙タイトル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77425" y="1645603"/>
            <a:ext cx="8541120" cy="672272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lIns="36000" tIns="0" rIns="0" bIns="0" anchor="ctr" anchorCtr="0">
            <a:noAutofit/>
          </a:bodyPr>
          <a:lstStyle>
            <a:lvl1pPr marL="19433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33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179388">
              <a:spcBef>
                <a:spcPts val="0"/>
              </a:spcBef>
              <a:spcAft>
                <a:spcPts val="0"/>
              </a:spcAft>
            </a:pPr>
            <a:r>
              <a:rPr lang="ja-JP" altLang="en-US" sz="3033" dirty="0" smtClean="0">
                <a:solidFill>
                  <a:prstClr val="black"/>
                </a:solidFill>
              </a:rPr>
              <a:t>目次（</a:t>
            </a:r>
            <a:r>
              <a:rPr lang="en-US" altLang="ja-JP" sz="3033" dirty="0" smtClean="0">
                <a:solidFill>
                  <a:prstClr val="black"/>
                </a:solidFill>
              </a:rPr>
              <a:t>1</a:t>
            </a:r>
            <a:r>
              <a:rPr lang="ja-JP" altLang="en-US" sz="3033" dirty="0" smtClean="0">
                <a:solidFill>
                  <a:prstClr val="black"/>
                </a:solidFill>
              </a:rPr>
              <a:t>行以内／</a:t>
            </a:r>
            <a:r>
              <a:rPr lang="en-US" altLang="ja-JP" sz="3033" dirty="0" smtClean="0">
                <a:solidFill>
                  <a:prstClr val="black"/>
                </a:solidFill>
              </a:rPr>
              <a:t>28pt</a:t>
            </a:r>
            <a:r>
              <a:rPr lang="ja-JP" altLang="en-US" sz="3033" dirty="0" smtClean="0">
                <a:solidFill>
                  <a:prstClr val="black"/>
                </a:solidFill>
              </a:rPr>
              <a:t>）</a:t>
            </a:r>
          </a:p>
        </p:txBody>
      </p:sp>
      <p:sp>
        <p:nvSpPr>
          <p:cNvPr id="27" name="テキスト プレースホルダー 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95867" y="1645603"/>
            <a:ext cx="583279" cy="672272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txBody>
          <a:bodyPr lIns="0" tIns="0" rIns="0" bIns="0" anchor="ctr"/>
          <a:lstStyle>
            <a:lvl1pPr marL="0" indent="0" algn="ctr">
              <a:buFontTx/>
              <a:buNone/>
              <a:defRPr sz="3467" b="1">
                <a:ln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kumimoji="1" lang="en-US" altLang="ja-JP" dirty="0" smtClean="0"/>
              <a:t>X</a:t>
            </a:r>
            <a:endParaRPr kumimoji="1" lang="ja-JP" altLang="en-US" dirty="0"/>
          </a:p>
        </p:txBody>
      </p:sp>
      <p:sp>
        <p:nvSpPr>
          <p:cNvPr id="28" name="中表紙タイトル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983401" y="2413885"/>
            <a:ext cx="8541120" cy="672272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lIns="36000" tIns="0" rIns="0" bIns="0" anchor="ctr" anchorCtr="0">
            <a:noAutofit/>
          </a:bodyPr>
          <a:lstStyle>
            <a:lvl1pPr marL="19433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33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179388">
              <a:spcBef>
                <a:spcPts val="0"/>
              </a:spcBef>
              <a:spcAft>
                <a:spcPts val="0"/>
              </a:spcAft>
            </a:pPr>
            <a:r>
              <a:rPr lang="ja-JP" altLang="en-US" sz="3033" dirty="0" smtClean="0">
                <a:solidFill>
                  <a:prstClr val="black"/>
                </a:solidFill>
              </a:rPr>
              <a:t>目次（</a:t>
            </a:r>
            <a:r>
              <a:rPr lang="en-US" altLang="ja-JP" sz="3033" dirty="0" smtClean="0">
                <a:solidFill>
                  <a:prstClr val="black"/>
                </a:solidFill>
              </a:rPr>
              <a:t>1</a:t>
            </a:r>
            <a:r>
              <a:rPr lang="ja-JP" altLang="en-US" sz="3033" dirty="0" smtClean="0">
                <a:solidFill>
                  <a:prstClr val="black"/>
                </a:solidFill>
              </a:rPr>
              <a:t>行以内／</a:t>
            </a:r>
            <a:r>
              <a:rPr lang="en-US" altLang="ja-JP" sz="3033" dirty="0" smtClean="0">
                <a:solidFill>
                  <a:prstClr val="black"/>
                </a:solidFill>
              </a:rPr>
              <a:t>28pt</a:t>
            </a:r>
            <a:r>
              <a:rPr lang="ja-JP" altLang="en-US" sz="3033" dirty="0" smtClean="0">
                <a:solidFill>
                  <a:prstClr val="black"/>
                </a:solidFill>
              </a:rPr>
              <a:t>）</a:t>
            </a:r>
          </a:p>
        </p:txBody>
      </p:sp>
      <p:sp>
        <p:nvSpPr>
          <p:cNvPr id="29" name="テキスト プレースホルダー 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01842" y="2413885"/>
            <a:ext cx="583279" cy="672272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txBody>
          <a:bodyPr lIns="0" tIns="0" rIns="0" bIns="0" anchor="ctr"/>
          <a:lstStyle>
            <a:lvl1pPr marL="0" indent="0" algn="ctr">
              <a:buFontTx/>
              <a:buNone/>
              <a:defRPr sz="3467" b="1">
                <a:ln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kumimoji="1" lang="en-US" altLang="ja-JP" dirty="0" smtClean="0"/>
              <a:t>X</a:t>
            </a:r>
            <a:endParaRPr kumimoji="1" lang="ja-JP" altLang="en-US" dirty="0"/>
          </a:p>
        </p:txBody>
      </p:sp>
      <p:sp>
        <p:nvSpPr>
          <p:cNvPr id="30" name="中表紙タイトル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85121" y="3189629"/>
            <a:ext cx="8541120" cy="672272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lIns="36000" tIns="0" rIns="0" bIns="0" anchor="ctr" anchorCtr="0">
            <a:noAutofit/>
          </a:bodyPr>
          <a:lstStyle>
            <a:lvl1pPr marL="19433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33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179388">
              <a:spcBef>
                <a:spcPts val="0"/>
              </a:spcBef>
              <a:spcAft>
                <a:spcPts val="0"/>
              </a:spcAft>
            </a:pPr>
            <a:r>
              <a:rPr lang="ja-JP" altLang="en-US" sz="3033" dirty="0" smtClean="0">
                <a:solidFill>
                  <a:prstClr val="black"/>
                </a:solidFill>
              </a:rPr>
              <a:t>目次（</a:t>
            </a:r>
            <a:r>
              <a:rPr lang="en-US" altLang="ja-JP" sz="3033" dirty="0" smtClean="0">
                <a:solidFill>
                  <a:prstClr val="black"/>
                </a:solidFill>
              </a:rPr>
              <a:t>1</a:t>
            </a:r>
            <a:r>
              <a:rPr lang="ja-JP" altLang="en-US" sz="3033" dirty="0" smtClean="0">
                <a:solidFill>
                  <a:prstClr val="black"/>
                </a:solidFill>
              </a:rPr>
              <a:t>行以内／</a:t>
            </a:r>
            <a:r>
              <a:rPr lang="en-US" altLang="ja-JP" sz="3033" dirty="0" smtClean="0">
                <a:solidFill>
                  <a:prstClr val="black"/>
                </a:solidFill>
              </a:rPr>
              <a:t>28pt</a:t>
            </a:r>
            <a:r>
              <a:rPr lang="ja-JP" altLang="en-US" sz="3033" dirty="0" smtClean="0">
                <a:solidFill>
                  <a:prstClr val="black"/>
                </a:solidFill>
              </a:rPr>
              <a:t>）</a:t>
            </a:r>
          </a:p>
        </p:txBody>
      </p:sp>
      <p:sp>
        <p:nvSpPr>
          <p:cNvPr id="31" name="テキスト プレースホルダー 2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03563" y="3189629"/>
            <a:ext cx="583279" cy="672272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txBody>
          <a:bodyPr lIns="0" tIns="0" rIns="0" bIns="0" anchor="ctr"/>
          <a:lstStyle>
            <a:lvl1pPr marL="0" indent="0" algn="ctr">
              <a:buFontTx/>
              <a:buNone/>
              <a:defRPr sz="3467" b="1">
                <a:ln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kumimoji="1" lang="en-US" altLang="ja-JP" dirty="0" smtClean="0"/>
              <a:t>X</a:t>
            </a:r>
            <a:endParaRPr kumimoji="1" lang="ja-JP" altLang="en-US" dirty="0"/>
          </a:p>
        </p:txBody>
      </p:sp>
      <p:sp>
        <p:nvSpPr>
          <p:cNvPr id="32" name="中表紙タイトル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985121" y="3965373"/>
            <a:ext cx="8541120" cy="672272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lIns="36000" tIns="0" rIns="0" bIns="0" anchor="ctr" anchorCtr="0">
            <a:noAutofit/>
          </a:bodyPr>
          <a:lstStyle>
            <a:lvl1pPr marL="19433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33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179388">
              <a:spcBef>
                <a:spcPts val="0"/>
              </a:spcBef>
              <a:spcAft>
                <a:spcPts val="0"/>
              </a:spcAft>
            </a:pPr>
            <a:r>
              <a:rPr lang="ja-JP" altLang="en-US" sz="3033" dirty="0" smtClean="0">
                <a:solidFill>
                  <a:prstClr val="black"/>
                </a:solidFill>
              </a:rPr>
              <a:t>目次（</a:t>
            </a:r>
            <a:r>
              <a:rPr lang="en-US" altLang="ja-JP" sz="3033" dirty="0" smtClean="0">
                <a:solidFill>
                  <a:prstClr val="black"/>
                </a:solidFill>
              </a:rPr>
              <a:t>1</a:t>
            </a:r>
            <a:r>
              <a:rPr lang="ja-JP" altLang="en-US" sz="3033" dirty="0" smtClean="0">
                <a:solidFill>
                  <a:prstClr val="black"/>
                </a:solidFill>
              </a:rPr>
              <a:t>行以内／</a:t>
            </a:r>
            <a:r>
              <a:rPr lang="en-US" altLang="ja-JP" sz="3033" dirty="0" smtClean="0">
                <a:solidFill>
                  <a:prstClr val="black"/>
                </a:solidFill>
              </a:rPr>
              <a:t>28pt</a:t>
            </a:r>
            <a:r>
              <a:rPr lang="ja-JP" altLang="en-US" sz="3033" dirty="0" smtClean="0">
                <a:solidFill>
                  <a:prstClr val="black"/>
                </a:solidFill>
              </a:rPr>
              <a:t>）</a:t>
            </a:r>
          </a:p>
        </p:txBody>
      </p:sp>
      <p:sp>
        <p:nvSpPr>
          <p:cNvPr id="33" name="テキスト プレースホルダー 2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03563" y="3965373"/>
            <a:ext cx="583279" cy="672272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txBody>
          <a:bodyPr lIns="0" tIns="0" rIns="0" bIns="0" anchor="ctr"/>
          <a:lstStyle>
            <a:lvl1pPr marL="0" indent="0" algn="ctr">
              <a:buFontTx/>
              <a:buNone/>
              <a:defRPr sz="3467" b="1">
                <a:ln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kumimoji="1" lang="en-US" altLang="ja-JP" dirty="0" smtClean="0"/>
              <a:t>X</a:t>
            </a:r>
            <a:endParaRPr kumimoji="1" lang="ja-JP" altLang="en-US" dirty="0"/>
          </a:p>
        </p:txBody>
      </p:sp>
      <p:sp>
        <p:nvSpPr>
          <p:cNvPr id="34" name="中表紙タイトル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983401" y="4741117"/>
            <a:ext cx="8541120" cy="672272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lIns="36000" tIns="0" rIns="0" bIns="0" anchor="ctr" anchorCtr="0">
            <a:noAutofit/>
          </a:bodyPr>
          <a:lstStyle>
            <a:lvl1pPr marL="19433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33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179388">
              <a:spcBef>
                <a:spcPts val="0"/>
              </a:spcBef>
              <a:spcAft>
                <a:spcPts val="0"/>
              </a:spcAft>
            </a:pPr>
            <a:r>
              <a:rPr lang="ja-JP" altLang="en-US" sz="3033" dirty="0" smtClean="0">
                <a:solidFill>
                  <a:prstClr val="black"/>
                </a:solidFill>
              </a:rPr>
              <a:t>目次（</a:t>
            </a:r>
            <a:r>
              <a:rPr lang="en-US" altLang="ja-JP" sz="3033" dirty="0" smtClean="0">
                <a:solidFill>
                  <a:prstClr val="black"/>
                </a:solidFill>
              </a:rPr>
              <a:t>1</a:t>
            </a:r>
            <a:r>
              <a:rPr lang="ja-JP" altLang="en-US" sz="3033" dirty="0" smtClean="0">
                <a:solidFill>
                  <a:prstClr val="black"/>
                </a:solidFill>
              </a:rPr>
              <a:t>行以内／</a:t>
            </a:r>
            <a:r>
              <a:rPr lang="en-US" altLang="ja-JP" sz="3033" dirty="0" smtClean="0">
                <a:solidFill>
                  <a:prstClr val="black"/>
                </a:solidFill>
              </a:rPr>
              <a:t>28pt</a:t>
            </a:r>
            <a:r>
              <a:rPr lang="ja-JP" altLang="en-US" sz="3033" dirty="0" smtClean="0">
                <a:solidFill>
                  <a:prstClr val="black"/>
                </a:solidFill>
              </a:rPr>
              <a:t>）</a:t>
            </a:r>
          </a:p>
        </p:txBody>
      </p:sp>
      <p:sp>
        <p:nvSpPr>
          <p:cNvPr id="35" name="テキスト プレースホルダー 2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01842" y="4741117"/>
            <a:ext cx="583279" cy="672272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txBody>
          <a:bodyPr lIns="0" tIns="0" rIns="0" bIns="0" anchor="ctr"/>
          <a:lstStyle>
            <a:lvl1pPr marL="0" indent="0" algn="ctr">
              <a:buFontTx/>
              <a:buNone/>
              <a:defRPr sz="3467" b="1">
                <a:ln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kumimoji="1" lang="en-US" altLang="ja-JP" dirty="0" smtClean="0"/>
              <a:t>X</a:t>
            </a:r>
            <a:endParaRPr kumimoji="1" lang="ja-JP" altLang="en-US" dirty="0"/>
          </a:p>
        </p:txBody>
      </p:sp>
      <p:sp>
        <p:nvSpPr>
          <p:cNvPr id="36" name="中表紙タイトル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985121" y="5516861"/>
            <a:ext cx="8541120" cy="672272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lIns="36000" tIns="0" rIns="0" bIns="0" anchor="ctr" anchorCtr="0">
            <a:noAutofit/>
          </a:bodyPr>
          <a:lstStyle>
            <a:lvl1pPr marL="19433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33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179388">
              <a:spcBef>
                <a:spcPts val="0"/>
              </a:spcBef>
              <a:spcAft>
                <a:spcPts val="0"/>
              </a:spcAft>
            </a:pPr>
            <a:r>
              <a:rPr lang="ja-JP" altLang="en-US" sz="3033" dirty="0" smtClean="0">
                <a:solidFill>
                  <a:prstClr val="black"/>
                </a:solidFill>
              </a:rPr>
              <a:t>目次（</a:t>
            </a:r>
            <a:r>
              <a:rPr lang="en-US" altLang="ja-JP" sz="3033" dirty="0" smtClean="0">
                <a:solidFill>
                  <a:prstClr val="black"/>
                </a:solidFill>
              </a:rPr>
              <a:t>1</a:t>
            </a:r>
            <a:r>
              <a:rPr lang="ja-JP" altLang="en-US" sz="3033" dirty="0" smtClean="0">
                <a:solidFill>
                  <a:prstClr val="black"/>
                </a:solidFill>
              </a:rPr>
              <a:t>行以内／</a:t>
            </a:r>
            <a:r>
              <a:rPr lang="en-US" altLang="ja-JP" sz="3033" dirty="0" smtClean="0">
                <a:solidFill>
                  <a:prstClr val="black"/>
                </a:solidFill>
              </a:rPr>
              <a:t>28pt</a:t>
            </a:r>
            <a:r>
              <a:rPr lang="ja-JP" altLang="en-US" sz="3033" dirty="0" smtClean="0">
                <a:solidFill>
                  <a:prstClr val="black"/>
                </a:solidFill>
              </a:rPr>
              <a:t>）</a:t>
            </a:r>
          </a:p>
        </p:txBody>
      </p:sp>
      <p:sp>
        <p:nvSpPr>
          <p:cNvPr id="37" name="テキスト プレースホルダー 2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03563" y="5516861"/>
            <a:ext cx="583279" cy="672272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txBody>
          <a:bodyPr lIns="0" tIns="0" rIns="0" bIns="0" anchor="ctr"/>
          <a:lstStyle>
            <a:lvl1pPr marL="0" indent="0" algn="ctr">
              <a:buFontTx/>
              <a:buNone/>
              <a:defRPr sz="3467" b="1">
                <a:ln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kumimoji="1" lang="en-US" altLang="ja-JP" dirty="0" smtClean="0"/>
              <a:t>X</a:t>
            </a:r>
            <a:endParaRPr kumimoji="1" lang="ja-JP" altLang="en-US" dirty="0"/>
          </a:p>
        </p:txBody>
      </p:sp>
      <p:sp>
        <p:nvSpPr>
          <p:cNvPr id="39" name="スライドタイトル"/>
          <p:cNvSpPr>
            <a:spLocks noGrp="1"/>
          </p:cNvSpPr>
          <p:nvPr>
            <p:ph type="title" hasCustomPrompt="1"/>
          </p:nvPr>
        </p:nvSpPr>
        <p:spPr bwMode="gray">
          <a:xfrm>
            <a:off x="388673" y="483237"/>
            <a:ext cx="9127842" cy="640715"/>
          </a:xfrm>
          <a:prstGeom prst="rect">
            <a:avLst/>
          </a:prstGeom>
        </p:spPr>
        <p:txBody>
          <a:bodyPr lIns="36000" tIns="36000" rIns="36000" bIns="36000" anchor="b"/>
          <a:lstStyle>
            <a:lvl1pPr>
              <a:lnSpc>
                <a:spcPct val="80000"/>
              </a:lnSpc>
              <a:defRPr sz="3033" baseline="0"/>
            </a:lvl1pPr>
          </a:lstStyle>
          <a:p>
            <a:r>
              <a:rPr lang="ja-JP" altLang="en-US" noProof="0" dirty="0" smtClean="0"/>
              <a:t>スライドタイトル（</a:t>
            </a:r>
            <a:r>
              <a:rPr lang="en-US" altLang="ja-JP" noProof="0" dirty="0" smtClean="0"/>
              <a:t>28pt</a:t>
            </a:r>
            <a:r>
              <a:rPr lang="ja-JP" altLang="en-US" noProof="0" dirty="0" smtClean="0"/>
              <a:t>／太字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14554480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中表紙：LA_16_9_On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中表紙タイトル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71952" y="2121840"/>
            <a:ext cx="8541120" cy="720000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lIns="36000" tIns="0" rIns="0" bIns="0" anchor="ctr" anchorCtr="0">
            <a:noAutofit/>
          </a:bodyPr>
          <a:lstStyle>
            <a:lvl1pPr marL="19433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33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 smtClean="0"/>
              <a:t>中表紙（</a:t>
            </a:r>
            <a:r>
              <a:rPr lang="en-US" altLang="ja-JP" dirty="0" smtClean="0"/>
              <a:t>28pt</a:t>
            </a:r>
            <a:r>
              <a:rPr lang="ja-JP" altLang="en-US" dirty="0" smtClean="0"/>
              <a:t>／太字）</a:t>
            </a:r>
            <a:endParaRPr lang="ja-JP" altLang="en-US" dirty="0"/>
          </a:p>
        </p:txBody>
      </p:sp>
      <p:sp>
        <p:nvSpPr>
          <p:cNvPr id="17" name="テキスト プレースホルダー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90394" y="2121840"/>
            <a:ext cx="583279" cy="720000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txBody>
          <a:bodyPr lIns="0" tIns="0" rIns="0" bIns="0" anchor="ctr"/>
          <a:lstStyle>
            <a:lvl1pPr marL="0" indent="0" algn="ctr">
              <a:buFontTx/>
              <a:buNone/>
              <a:defRPr sz="3467" b="1">
                <a:ln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kumimoji="1" lang="en-US" altLang="ja-JP" dirty="0" smtClean="0"/>
              <a:t>X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3732109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基本版：LA_16_9_Onsc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0"/>
          <p:cNvSpPr txBox="1">
            <a:spLocks/>
          </p:cNvSpPr>
          <p:nvPr/>
        </p:nvSpPr>
        <p:spPr bwMode="gray">
          <a:xfrm>
            <a:off x="872723" y="1256032"/>
            <a:ext cx="8160555" cy="2104497"/>
          </a:xfrm>
          <a:prstGeom prst="rect">
            <a:avLst/>
          </a:prstGeom>
        </p:spPr>
        <p:txBody>
          <a:bodyPr lIns="390000" rIns="390000" anchor="ctr"/>
          <a:lstStyle>
            <a:lvl1pPr marL="0" marR="0" indent="0" algn="ctr" defTabSz="99056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4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marR="0" indent="-230400" algn="l" defTabSz="99056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0375" marR="0" indent="-193675" algn="l" defTabSz="99056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marR="0" indent="-241300" algn="l" defTabSz="990564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7179" indent="-191093" algn="l" defTabSz="865024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1192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ja-JP" altLang="en-US" sz="4767" dirty="0">
                <a:solidFill>
                  <a:sysClr val="windowText" lastClr="000000"/>
                </a:solidFill>
              </a:rPr>
              <a:t>お願い</a:t>
            </a:r>
          </a:p>
          <a:p>
            <a:pPr lvl="0">
              <a:defRPr/>
            </a:pPr>
            <a:r>
              <a:rPr lang="ja-JP" altLang="en-US" sz="2167" dirty="0">
                <a:solidFill>
                  <a:sysClr val="windowText" lastClr="000000"/>
                </a:solidFill>
              </a:rPr>
              <a:t>講師が「次のページをめくってください」と</a:t>
            </a:r>
          </a:p>
          <a:p>
            <a:pPr lvl="0">
              <a:defRPr/>
            </a:pPr>
            <a:r>
              <a:rPr lang="ja-JP" altLang="en-US" sz="2167" dirty="0">
                <a:solidFill>
                  <a:sysClr val="windowText" lastClr="000000"/>
                </a:solidFill>
              </a:rPr>
              <a:t>お願いするまでは、先に進まないでください</a:t>
            </a:r>
          </a:p>
        </p:txBody>
      </p:sp>
      <p:grpSp>
        <p:nvGrpSpPr>
          <p:cNvPr id="12" name="グループ化 11"/>
          <p:cNvGrpSpPr/>
          <p:nvPr/>
        </p:nvGrpSpPr>
        <p:grpSpPr>
          <a:xfrm>
            <a:off x="4050351" y="3796547"/>
            <a:ext cx="1790274" cy="2198571"/>
            <a:chOff x="6267450" y="3390925"/>
            <a:chExt cx="722313" cy="720725"/>
          </a:xfrm>
        </p:grpSpPr>
        <p:sp>
          <p:nvSpPr>
            <p:cNvPr id="13" name="Freeform 156"/>
            <p:cNvSpPr>
              <a:spLocks noEditPoints="1"/>
            </p:cNvSpPr>
            <p:nvPr/>
          </p:nvSpPr>
          <p:spPr bwMode="auto">
            <a:xfrm>
              <a:off x="6267450" y="3390925"/>
              <a:ext cx="722313" cy="720725"/>
            </a:xfrm>
            <a:custGeom>
              <a:avLst/>
              <a:gdLst>
                <a:gd name="T0" fmla="*/ 587 w 1174"/>
                <a:gd name="T1" fmla="*/ 1174 h 1174"/>
                <a:gd name="T2" fmla="*/ 0 w 1174"/>
                <a:gd name="T3" fmla="*/ 587 h 1174"/>
                <a:gd name="T4" fmla="*/ 587 w 1174"/>
                <a:gd name="T5" fmla="*/ 0 h 1174"/>
                <a:gd name="T6" fmla="*/ 1174 w 1174"/>
                <a:gd name="T7" fmla="*/ 587 h 1174"/>
                <a:gd name="T8" fmla="*/ 587 w 1174"/>
                <a:gd name="T9" fmla="*/ 1174 h 1174"/>
                <a:gd name="T10" fmla="*/ 587 w 1174"/>
                <a:gd name="T11" fmla="*/ 40 h 1174"/>
                <a:gd name="T12" fmla="*/ 40 w 1174"/>
                <a:gd name="T13" fmla="*/ 587 h 1174"/>
                <a:gd name="T14" fmla="*/ 587 w 1174"/>
                <a:gd name="T15" fmla="*/ 1134 h 1174"/>
                <a:gd name="T16" fmla="*/ 1134 w 1174"/>
                <a:gd name="T17" fmla="*/ 587 h 1174"/>
                <a:gd name="T18" fmla="*/ 587 w 1174"/>
                <a:gd name="T19" fmla="*/ 40 h 1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74" h="1174">
                  <a:moveTo>
                    <a:pt x="587" y="1174"/>
                  </a:moveTo>
                  <a:cubicBezTo>
                    <a:pt x="263" y="1174"/>
                    <a:pt x="0" y="911"/>
                    <a:pt x="0" y="587"/>
                  </a:cubicBezTo>
                  <a:cubicBezTo>
                    <a:pt x="0" y="263"/>
                    <a:pt x="263" y="0"/>
                    <a:pt x="587" y="0"/>
                  </a:cubicBezTo>
                  <a:cubicBezTo>
                    <a:pt x="911" y="0"/>
                    <a:pt x="1174" y="263"/>
                    <a:pt x="1174" y="587"/>
                  </a:cubicBezTo>
                  <a:cubicBezTo>
                    <a:pt x="1174" y="911"/>
                    <a:pt x="911" y="1174"/>
                    <a:pt x="587" y="1174"/>
                  </a:cubicBezTo>
                  <a:close/>
                  <a:moveTo>
                    <a:pt x="587" y="40"/>
                  </a:moveTo>
                  <a:cubicBezTo>
                    <a:pt x="286" y="40"/>
                    <a:pt x="40" y="286"/>
                    <a:pt x="40" y="587"/>
                  </a:cubicBezTo>
                  <a:cubicBezTo>
                    <a:pt x="40" y="889"/>
                    <a:pt x="286" y="1134"/>
                    <a:pt x="587" y="1134"/>
                  </a:cubicBezTo>
                  <a:cubicBezTo>
                    <a:pt x="889" y="1134"/>
                    <a:pt x="1134" y="889"/>
                    <a:pt x="1134" y="587"/>
                  </a:cubicBezTo>
                  <a:cubicBezTo>
                    <a:pt x="1134" y="286"/>
                    <a:pt x="889" y="40"/>
                    <a:pt x="587" y="4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14" name="Freeform 157"/>
            <p:cNvSpPr>
              <a:spLocks/>
            </p:cNvSpPr>
            <p:nvPr/>
          </p:nvSpPr>
          <p:spPr bwMode="auto">
            <a:xfrm>
              <a:off x="6580188" y="3522688"/>
              <a:ext cx="96838" cy="354013"/>
            </a:xfrm>
            <a:custGeom>
              <a:avLst/>
              <a:gdLst>
                <a:gd name="T0" fmla="*/ 140 w 160"/>
                <a:gd name="T1" fmla="*/ 0 h 576"/>
                <a:gd name="T2" fmla="*/ 20 w 160"/>
                <a:gd name="T3" fmla="*/ 0 h 576"/>
                <a:gd name="T4" fmla="*/ 6 w 160"/>
                <a:gd name="T5" fmla="*/ 6 h 576"/>
                <a:gd name="T6" fmla="*/ 0 w 160"/>
                <a:gd name="T7" fmla="*/ 21 h 576"/>
                <a:gd name="T8" fmla="*/ 32 w 160"/>
                <a:gd name="T9" fmla="*/ 557 h 576"/>
                <a:gd name="T10" fmla="*/ 52 w 160"/>
                <a:gd name="T11" fmla="*/ 576 h 576"/>
                <a:gd name="T12" fmla="*/ 108 w 160"/>
                <a:gd name="T13" fmla="*/ 576 h 576"/>
                <a:gd name="T14" fmla="*/ 128 w 160"/>
                <a:gd name="T15" fmla="*/ 557 h 576"/>
                <a:gd name="T16" fmla="*/ 160 w 160"/>
                <a:gd name="T17" fmla="*/ 21 h 576"/>
                <a:gd name="T18" fmla="*/ 155 w 160"/>
                <a:gd name="T19" fmla="*/ 6 h 576"/>
                <a:gd name="T20" fmla="*/ 140 w 160"/>
                <a:gd name="T2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576">
                  <a:moveTo>
                    <a:pt x="14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15" y="0"/>
                    <a:pt x="9" y="2"/>
                    <a:pt x="6" y="6"/>
                  </a:cubicBezTo>
                  <a:cubicBezTo>
                    <a:pt x="2" y="10"/>
                    <a:pt x="0" y="16"/>
                    <a:pt x="0" y="21"/>
                  </a:cubicBezTo>
                  <a:cubicBezTo>
                    <a:pt x="32" y="557"/>
                    <a:pt x="32" y="557"/>
                    <a:pt x="32" y="557"/>
                  </a:cubicBezTo>
                  <a:cubicBezTo>
                    <a:pt x="33" y="568"/>
                    <a:pt x="42" y="576"/>
                    <a:pt x="52" y="576"/>
                  </a:cubicBezTo>
                  <a:cubicBezTo>
                    <a:pt x="108" y="576"/>
                    <a:pt x="108" y="576"/>
                    <a:pt x="108" y="576"/>
                  </a:cubicBezTo>
                  <a:cubicBezTo>
                    <a:pt x="119" y="576"/>
                    <a:pt x="127" y="568"/>
                    <a:pt x="128" y="557"/>
                  </a:cubicBezTo>
                  <a:cubicBezTo>
                    <a:pt x="160" y="21"/>
                    <a:pt x="160" y="21"/>
                    <a:pt x="160" y="21"/>
                  </a:cubicBezTo>
                  <a:cubicBezTo>
                    <a:pt x="160" y="16"/>
                    <a:pt x="158" y="10"/>
                    <a:pt x="155" y="6"/>
                  </a:cubicBezTo>
                  <a:cubicBezTo>
                    <a:pt x="151" y="2"/>
                    <a:pt x="146" y="0"/>
                    <a:pt x="140" y="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15" name="Freeform 158"/>
            <p:cNvSpPr>
              <a:spLocks/>
            </p:cNvSpPr>
            <p:nvPr/>
          </p:nvSpPr>
          <p:spPr bwMode="auto">
            <a:xfrm>
              <a:off x="6599238" y="3917975"/>
              <a:ext cx="58738" cy="58738"/>
            </a:xfrm>
            <a:custGeom>
              <a:avLst/>
              <a:gdLst>
                <a:gd name="T0" fmla="*/ 76 w 96"/>
                <a:gd name="T1" fmla="*/ 0 h 96"/>
                <a:gd name="T2" fmla="*/ 20 w 96"/>
                <a:gd name="T3" fmla="*/ 0 h 96"/>
                <a:gd name="T4" fmla="*/ 0 w 96"/>
                <a:gd name="T5" fmla="*/ 20 h 96"/>
                <a:gd name="T6" fmla="*/ 0 w 96"/>
                <a:gd name="T7" fmla="*/ 76 h 96"/>
                <a:gd name="T8" fmla="*/ 20 w 96"/>
                <a:gd name="T9" fmla="*/ 96 h 96"/>
                <a:gd name="T10" fmla="*/ 76 w 96"/>
                <a:gd name="T11" fmla="*/ 96 h 96"/>
                <a:gd name="T12" fmla="*/ 96 w 96"/>
                <a:gd name="T13" fmla="*/ 76 h 96"/>
                <a:gd name="T14" fmla="*/ 96 w 96"/>
                <a:gd name="T15" fmla="*/ 20 h 96"/>
                <a:gd name="T16" fmla="*/ 76 w 96"/>
                <a:gd name="T17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96">
                  <a:moveTo>
                    <a:pt x="76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87"/>
                    <a:pt x="9" y="96"/>
                    <a:pt x="20" y="96"/>
                  </a:cubicBezTo>
                  <a:cubicBezTo>
                    <a:pt x="76" y="96"/>
                    <a:pt x="76" y="96"/>
                    <a:pt x="76" y="96"/>
                  </a:cubicBezTo>
                  <a:cubicBezTo>
                    <a:pt x="87" y="96"/>
                    <a:pt x="96" y="87"/>
                    <a:pt x="96" y="76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9"/>
                    <a:pt x="87" y="0"/>
                    <a:pt x="76" y="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</p:grpSp>
    </p:spTree>
    <p:extLst>
      <p:ext uri="{BB962C8B-B14F-4D97-AF65-F5344CB8AC3E}">
        <p14:creationId xmlns:p14="http://schemas.microsoft.com/office/powerpoint/2010/main" val="180513316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基本版：LA_16_9_Onsc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タイトル"/>
          <p:cNvSpPr>
            <a:spLocks noGrp="1"/>
          </p:cNvSpPr>
          <p:nvPr>
            <p:ph type="title" hasCustomPrompt="1"/>
          </p:nvPr>
        </p:nvSpPr>
        <p:spPr bwMode="gray">
          <a:xfrm>
            <a:off x="388673" y="483237"/>
            <a:ext cx="9127842" cy="640715"/>
          </a:xfrm>
          <a:prstGeom prst="rect">
            <a:avLst/>
          </a:prstGeom>
        </p:spPr>
        <p:txBody>
          <a:bodyPr lIns="36000" tIns="36000" rIns="36000" bIns="36000" anchor="b"/>
          <a:lstStyle>
            <a:lvl1pPr>
              <a:lnSpc>
                <a:spcPct val="80000"/>
              </a:lnSpc>
              <a:defRPr sz="3033" baseline="0"/>
            </a:lvl1pPr>
          </a:lstStyle>
          <a:p>
            <a:r>
              <a:rPr lang="ja-JP" altLang="en-US" noProof="0" dirty="0" smtClean="0"/>
              <a:t>スライドタイトル（</a:t>
            </a:r>
            <a:r>
              <a:rPr lang="en-US" altLang="ja-JP" noProof="0" dirty="0" smtClean="0"/>
              <a:t>28pt</a:t>
            </a:r>
            <a:r>
              <a:rPr lang="ja-JP" altLang="en-US" noProof="0" dirty="0" smtClean="0"/>
              <a:t>／太字）</a:t>
            </a:r>
            <a:endParaRPr kumimoji="1" lang="ja-JP" altLang="en-US" dirty="0"/>
          </a:p>
        </p:txBody>
      </p:sp>
      <p:sp>
        <p:nvSpPr>
          <p:cNvPr id="3" name="コンテンツ プレースホルダー 47"/>
          <p:cNvSpPr>
            <a:spLocks noGrp="1"/>
          </p:cNvSpPr>
          <p:nvPr>
            <p:ph sz="quarter" idx="11" hasCustomPrompt="1"/>
          </p:nvPr>
        </p:nvSpPr>
        <p:spPr bwMode="gray">
          <a:xfrm>
            <a:off x="390393" y="1797051"/>
            <a:ext cx="9128654" cy="43920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17"/>
              </a:spcBef>
              <a:spcAft>
                <a:spcPts val="217"/>
              </a:spcAft>
              <a:buNone/>
              <a:defRPr sz="1950" baseline="0">
                <a:latin typeface="+mn-lt"/>
              </a:defRPr>
            </a:lvl1pPr>
            <a:lvl2pPr marL="288916" indent="-288916" algn="l">
              <a:spcBef>
                <a:spcPts val="217"/>
              </a:spcBef>
              <a:spcAft>
                <a:spcPts val="217"/>
              </a:spcAft>
              <a:buClr>
                <a:schemeClr val="bg2"/>
              </a:buClr>
              <a:buFont typeface="Wingdings" panose="05000000000000000000" pitchFamily="2" charset="2"/>
              <a:buChar char="u"/>
              <a:defRPr sz="1950">
                <a:latin typeface="+mn-lt"/>
              </a:defRPr>
            </a:lvl2pPr>
            <a:lvl3pPr marL="486687" marR="0" indent="-197770" algn="l" defTabSz="804784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950"/>
            </a:lvl3pPr>
            <a:lvl4pPr marL="775603" marR="0" indent="-213248" algn="l" defTabSz="804784" rtl="0" eaLnBrk="1" fontAlgn="auto" latinLnBrk="0" hangingPunct="1">
              <a:lnSpc>
                <a:spcPct val="100000"/>
              </a:lnSpc>
              <a:spcBef>
                <a:spcPts val="217"/>
              </a:spcBef>
              <a:spcAft>
                <a:spcPts val="217"/>
              </a:spcAft>
              <a:buClrTx/>
              <a:buSzPct val="100000"/>
              <a:buFont typeface="Arial" panose="020B0604020202020204" pitchFamily="34" charset="0"/>
              <a:buChar char="-"/>
              <a:tabLst/>
              <a:defRPr sz="1950">
                <a:latin typeface="+mn-lt"/>
              </a:defRPr>
            </a:lvl4pPr>
            <a:lvl5pPr marL="1066238" indent="-192611" algn="l">
              <a:spcBef>
                <a:spcPts val="217"/>
              </a:spcBef>
              <a:spcAft>
                <a:spcPts val="217"/>
              </a:spcAft>
              <a:buFont typeface="Arial" panose="020B0604020202020204" pitchFamily="34" charset="0"/>
              <a:buChar char="-"/>
              <a:defRPr sz="1950"/>
            </a:lvl5pPr>
            <a:lvl6pPr marL="1064519" indent="-190892">
              <a:buFont typeface="Arial" panose="020B0604020202020204" pitchFamily="34" charset="0"/>
              <a:buChar char="-"/>
              <a:defRPr sz="1950"/>
            </a:lvl6pPr>
          </a:lstStyle>
          <a:p>
            <a:pPr lvl="0"/>
            <a:r>
              <a:rPr kumimoji="1" lang="ja-JP" altLang="en-US" dirty="0" smtClean="0"/>
              <a:t>ワーキングエリア内にテキストを入力（</a:t>
            </a:r>
            <a:r>
              <a:rPr kumimoji="1" lang="en-US" altLang="ja-JP" dirty="0" smtClean="0"/>
              <a:t>18pt</a:t>
            </a:r>
            <a:r>
              <a:rPr kumimoji="1" lang="ja-JP" altLang="en-US" dirty="0" smtClean="0"/>
              <a:t>以上）</a:t>
            </a:r>
            <a:r>
              <a:rPr kumimoji="1" lang="en-US" altLang="ja-JP" dirty="0" smtClean="0"/>
              <a:t/>
            </a:r>
            <a:br>
              <a:rPr kumimoji="1" lang="en-US" altLang="ja-JP" dirty="0" smtClean="0"/>
            </a:br>
            <a:r>
              <a:rPr kumimoji="1" lang="ja-JP" altLang="en-US" dirty="0" smtClean="0"/>
              <a:t>インデントを増やす（</a:t>
            </a:r>
            <a:r>
              <a:rPr kumimoji="1" lang="en-US" altLang="ja-JP" dirty="0" smtClean="0"/>
              <a:t>[</a:t>
            </a:r>
            <a:r>
              <a:rPr kumimoji="1" lang="ja-JP" altLang="en-US" dirty="0" smtClean="0"/>
              <a:t>ホーム</a:t>
            </a:r>
            <a:r>
              <a:rPr kumimoji="1" lang="en-US" altLang="ja-JP" dirty="0" smtClean="0"/>
              <a:t>]</a:t>
            </a:r>
            <a:r>
              <a:rPr kumimoji="1" lang="ja-JP" altLang="en-US" dirty="0" smtClean="0"/>
              <a:t>＞</a:t>
            </a:r>
            <a:r>
              <a:rPr kumimoji="1" lang="en-US" altLang="ja-JP" dirty="0" smtClean="0"/>
              <a:t>[</a:t>
            </a:r>
            <a:r>
              <a:rPr kumimoji="1" lang="ja-JP" altLang="en-US" dirty="0" smtClean="0"/>
              <a:t>段落</a:t>
            </a:r>
            <a:r>
              <a:rPr kumimoji="1" lang="en-US" altLang="ja-JP" dirty="0" smtClean="0"/>
              <a:t>]</a:t>
            </a:r>
            <a:r>
              <a:rPr kumimoji="1" lang="ja-JP" altLang="en-US" dirty="0" smtClean="0"/>
              <a:t>＞</a:t>
            </a:r>
            <a:r>
              <a:rPr kumimoji="1" lang="en-US" altLang="ja-JP" dirty="0" smtClean="0"/>
              <a:t>[</a:t>
            </a:r>
            <a:r>
              <a:rPr kumimoji="1" lang="ja-JP" altLang="en-US" dirty="0" smtClean="0"/>
              <a:t>インデントを増やす</a:t>
            </a:r>
            <a:r>
              <a:rPr kumimoji="1" lang="en-US" altLang="ja-JP" dirty="0" smtClean="0"/>
              <a:t>]</a:t>
            </a:r>
            <a:r>
              <a:rPr kumimoji="1" lang="ja-JP" altLang="en-US" dirty="0" smtClean="0"/>
              <a:t>もしくは</a:t>
            </a:r>
            <a:r>
              <a:rPr kumimoji="1" lang="en-US" altLang="ja-JP" dirty="0" smtClean="0"/>
              <a:t>[Alt]</a:t>
            </a:r>
            <a:r>
              <a:rPr kumimoji="1" lang="ja-JP" altLang="en-US" dirty="0" smtClean="0"/>
              <a:t> </a:t>
            </a:r>
            <a:r>
              <a:rPr kumimoji="1" lang="en-US" altLang="ja-JP" dirty="0" smtClean="0"/>
              <a:t>[Shift] [ → ]</a:t>
            </a:r>
            <a:r>
              <a:rPr kumimoji="1" lang="ja-JP" altLang="en-US" dirty="0" smtClean="0"/>
              <a:t>）ことで、レベル下げが可能</a:t>
            </a:r>
          </a:p>
          <a:p>
            <a:pPr lvl="1"/>
            <a:r>
              <a:rPr kumimoji="1" lang="ja-JP" altLang="en-US" dirty="0" smtClean="0"/>
              <a:t>箇条書きテキスト（レベル</a:t>
            </a:r>
            <a:r>
              <a:rPr kumimoji="1" lang="en-US" altLang="ja-JP" dirty="0" smtClean="0"/>
              <a:t>1</a:t>
            </a:r>
            <a:r>
              <a:rPr kumimoji="1" lang="ja-JP" altLang="en-US" dirty="0" smtClean="0"/>
              <a:t>）</a:t>
            </a:r>
            <a:endParaRPr kumimoji="1" lang="en-US" altLang="ja-JP" dirty="0" smtClean="0"/>
          </a:p>
          <a:p>
            <a:pPr lvl="2"/>
            <a:r>
              <a:rPr kumimoji="1" lang="ja-JP" altLang="en-US" dirty="0" smtClean="0"/>
              <a:t>箇条書きテキスト（レベル</a:t>
            </a:r>
            <a:r>
              <a:rPr kumimoji="1" lang="en-US" altLang="ja-JP" dirty="0" smtClean="0"/>
              <a:t>2</a:t>
            </a:r>
            <a:r>
              <a:rPr kumimoji="1" lang="ja-JP" altLang="en-US" dirty="0" smtClean="0"/>
              <a:t>）</a:t>
            </a:r>
            <a:endParaRPr kumimoji="1" lang="en-US" altLang="ja-JP" dirty="0" smtClean="0"/>
          </a:p>
          <a:p>
            <a:pPr lvl="3"/>
            <a:r>
              <a:rPr kumimoji="1" lang="ja-JP" altLang="en-US" dirty="0" smtClean="0"/>
              <a:t>箇条書きテキスト（レベル</a:t>
            </a:r>
            <a:r>
              <a:rPr kumimoji="1" lang="en-US" altLang="ja-JP" dirty="0" smtClean="0"/>
              <a:t>3</a:t>
            </a:r>
            <a:r>
              <a:rPr kumimoji="1" lang="ja-JP" altLang="en-US" dirty="0" smtClean="0"/>
              <a:t>）</a:t>
            </a:r>
          </a:p>
        </p:txBody>
      </p:sp>
      <p:sp>
        <p:nvSpPr>
          <p:cNvPr id="4" name="Header（基本版／左）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8673" y="1316567"/>
            <a:ext cx="4564328" cy="480484"/>
          </a:xfrm>
          <a:prstGeom prst="rect">
            <a:avLst/>
          </a:prstGeom>
        </p:spPr>
        <p:txBody>
          <a:bodyPr vert="horz" wrap="none" lIns="72000" tIns="0" rIns="0" bIns="0" rtlCol="0" anchor="ctr">
            <a:noAutofit/>
          </a:bodyPr>
          <a:lstStyle>
            <a:lvl1pPr marL="0" indent="0">
              <a:buNone/>
              <a:defRPr lang="ja-JP" altLang="en-US" sz="2167" b="1" baseline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kumimoji="1" lang="en-US" altLang="ja-JP" dirty="0"/>
              <a:t>Header</a:t>
            </a:r>
            <a:r>
              <a:rPr kumimoji="1" lang="ja-JP" altLang="en-US" dirty="0"/>
              <a:t>（スライドタイトル／</a:t>
            </a:r>
            <a:r>
              <a:rPr kumimoji="1" lang="en-US" altLang="ja-JP" dirty="0"/>
              <a:t>20pt</a:t>
            </a:r>
            <a:r>
              <a:rPr kumimoji="1" lang="ja-JP" altLang="en-US" dirty="0"/>
              <a:t> 太字）</a:t>
            </a:r>
          </a:p>
        </p:txBody>
      </p:sp>
    </p:spTree>
    <p:extLst>
      <p:ext uri="{BB962C8B-B14F-4D97-AF65-F5344CB8AC3E}">
        <p14:creationId xmlns:p14="http://schemas.microsoft.com/office/powerpoint/2010/main" val="34740196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基本版：LA_16_9_Onsc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タイトル"/>
          <p:cNvSpPr>
            <a:spLocks noGrp="1"/>
          </p:cNvSpPr>
          <p:nvPr>
            <p:ph type="title" hasCustomPrompt="1"/>
          </p:nvPr>
        </p:nvSpPr>
        <p:spPr bwMode="gray">
          <a:xfrm>
            <a:off x="388673" y="483237"/>
            <a:ext cx="9127842" cy="640715"/>
          </a:xfrm>
          <a:prstGeom prst="rect">
            <a:avLst/>
          </a:prstGeom>
        </p:spPr>
        <p:txBody>
          <a:bodyPr lIns="36000" tIns="36000" rIns="36000" bIns="36000" anchor="b"/>
          <a:lstStyle>
            <a:lvl1pPr>
              <a:lnSpc>
                <a:spcPct val="80000"/>
              </a:lnSpc>
              <a:defRPr sz="3033" baseline="0"/>
            </a:lvl1pPr>
          </a:lstStyle>
          <a:p>
            <a:r>
              <a:rPr lang="ja-JP" altLang="en-US" noProof="0" dirty="0" smtClean="0"/>
              <a:t>スライドタイトル（</a:t>
            </a:r>
            <a:r>
              <a:rPr lang="en-US" altLang="ja-JP" noProof="0" dirty="0" smtClean="0"/>
              <a:t>28pt</a:t>
            </a:r>
            <a:r>
              <a:rPr lang="ja-JP" altLang="en-US" noProof="0" dirty="0" smtClean="0"/>
              <a:t>／太字）</a:t>
            </a:r>
            <a:endParaRPr kumimoji="1" lang="ja-JP" altLang="en-US" dirty="0"/>
          </a:p>
        </p:txBody>
      </p:sp>
      <p:sp>
        <p:nvSpPr>
          <p:cNvPr id="5" name="Header（基本版／左）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8673" y="1316567"/>
            <a:ext cx="4564328" cy="480484"/>
          </a:xfrm>
          <a:prstGeom prst="rect">
            <a:avLst/>
          </a:prstGeom>
        </p:spPr>
        <p:txBody>
          <a:bodyPr vert="horz" wrap="none" lIns="72000" tIns="0" rIns="0" bIns="0" rtlCol="0" anchor="ctr">
            <a:noAutofit/>
          </a:bodyPr>
          <a:lstStyle>
            <a:lvl1pPr marL="0" indent="0">
              <a:buNone/>
              <a:defRPr lang="ja-JP" altLang="en-US" sz="2167" b="1" baseline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kumimoji="1" lang="en-US" altLang="ja-JP" dirty="0"/>
              <a:t>Header</a:t>
            </a:r>
            <a:r>
              <a:rPr kumimoji="1" lang="ja-JP" altLang="en-US" dirty="0"/>
              <a:t>（スライドタイトル／</a:t>
            </a:r>
            <a:r>
              <a:rPr kumimoji="1" lang="en-US" altLang="ja-JP" dirty="0"/>
              <a:t>20pt</a:t>
            </a:r>
            <a:r>
              <a:rPr kumimoji="1" lang="ja-JP" altLang="en-US" dirty="0"/>
              <a:t> 太字）</a:t>
            </a:r>
          </a:p>
        </p:txBody>
      </p:sp>
    </p:spTree>
    <p:extLst>
      <p:ext uri="{BB962C8B-B14F-4D97-AF65-F5344CB8AC3E}">
        <p14:creationId xmlns:p14="http://schemas.microsoft.com/office/powerpoint/2010/main" val="127790891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基本版：LA_16_9_Onsc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タイトル"/>
          <p:cNvSpPr>
            <a:spLocks noGrp="1"/>
          </p:cNvSpPr>
          <p:nvPr>
            <p:ph type="title" hasCustomPrompt="1"/>
          </p:nvPr>
        </p:nvSpPr>
        <p:spPr bwMode="gray">
          <a:xfrm>
            <a:off x="388673" y="483237"/>
            <a:ext cx="9127842" cy="640715"/>
          </a:xfrm>
          <a:prstGeom prst="rect">
            <a:avLst/>
          </a:prstGeom>
        </p:spPr>
        <p:txBody>
          <a:bodyPr lIns="36000" tIns="36000" rIns="36000" bIns="36000" anchor="b"/>
          <a:lstStyle>
            <a:lvl1pPr>
              <a:lnSpc>
                <a:spcPct val="80000"/>
              </a:lnSpc>
              <a:defRPr sz="3033" baseline="0"/>
            </a:lvl1pPr>
          </a:lstStyle>
          <a:p>
            <a:r>
              <a:rPr lang="ja-JP" altLang="en-US" noProof="0" dirty="0" smtClean="0"/>
              <a:t>スライドタイトル（</a:t>
            </a:r>
            <a:r>
              <a:rPr lang="en-US" altLang="ja-JP" noProof="0" dirty="0" smtClean="0"/>
              <a:t>28pt</a:t>
            </a:r>
            <a:r>
              <a:rPr lang="ja-JP" altLang="en-US" noProof="0" dirty="0" smtClean="0"/>
              <a:t>／太字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470857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補足版)20160408_クライアント資料用／配布資料テンプレート／ヨ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コンテンツ プレースホルダー 8"/>
          <p:cNvSpPr>
            <a:spLocks noGrp="1"/>
          </p:cNvSpPr>
          <p:nvPr>
            <p:ph sz="quarter" idx="15"/>
          </p:nvPr>
        </p:nvSpPr>
        <p:spPr>
          <a:xfrm>
            <a:off x="417512" y="1988840"/>
            <a:ext cx="9071487" cy="4320480"/>
          </a:xfrm>
          <a:prstGeom prst="rect">
            <a:avLst/>
          </a:prstGeom>
        </p:spPr>
        <p:txBody>
          <a:bodyPr>
            <a:normAutofit/>
          </a:bodyPr>
          <a:lstStyle>
            <a:lvl2pPr marL="0" indent="0">
              <a:buNone/>
              <a:defRPr sz="1600"/>
            </a:lvl2pPr>
            <a:lvl3pPr>
              <a:defRPr sz="1800"/>
            </a:lvl3pPr>
            <a:lvl4pPr>
              <a:defRPr sz="1800"/>
            </a:lvl4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349" fontAlgn="auto">
              <a:spcBef>
                <a:spcPts val="0"/>
              </a:spcBef>
              <a:spcAft>
                <a:spcPts val="0"/>
              </a:spcAft>
            </a:pPr>
            <a:endParaRPr kumimoji="1" lang="en-GB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>
          <a:xfrm>
            <a:off x="410400" y="6588002"/>
            <a:ext cx="180000" cy="169200"/>
          </a:xfrm>
          <a:prstGeom prst="rect">
            <a:avLst/>
          </a:prstGeom>
        </p:spPr>
        <p:txBody>
          <a:bodyPr/>
          <a:lstStyle/>
          <a:p>
            <a:pPr defTabSz="914349" fontAlgn="auto">
              <a:spcBef>
                <a:spcPts val="0"/>
              </a:spcBef>
              <a:spcAft>
                <a:spcPts val="0"/>
              </a:spcAft>
            </a:pPr>
            <a:fld id="{00CF35F9-5879-42A9-8B76-81836FFCFE60}" type="slidenum">
              <a:rPr kumimoji="1" lang="ja-JP" altLang="en-US" smtClean="0"/>
              <a:pPr defTabSz="914349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11" name="タイトル 4"/>
          <p:cNvSpPr>
            <a:spLocks noGrp="1"/>
          </p:cNvSpPr>
          <p:nvPr>
            <p:ph type="title" hasCustomPrompt="1"/>
          </p:nvPr>
        </p:nvSpPr>
        <p:spPr>
          <a:xfrm>
            <a:off x="417000" y="152400"/>
            <a:ext cx="9072000" cy="636000"/>
          </a:xfrm>
        </p:spPr>
        <p:txBody>
          <a:bodyPr/>
          <a:lstStyle/>
          <a:p>
            <a:r>
              <a:rPr lang="ja-JP" altLang="en-US" dirty="0" smtClean="0"/>
              <a:t>項番・項目</a:t>
            </a:r>
            <a:r>
              <a:rPr lang="en-US" altLang="ja-JP" dirty="0" smtClean="0"/>
              <a:t>(</a:t>
            </a:r>
            <a:r>
              <a:rPr lang="ja-JP" altLang="en-US" dirty="0" smtClean="0"/>
              <a:t>文字数はスライド横幅の中心まで</a:t>
            </a:r>
            <a:r>
              <a:rPr lang="en-US" altLang="ja-JP" dirty="0" smtClean="0"/>
              <a:t>)</a:t>
            </a:r>
            <a:br>
              <a:rPr lang="en-US" altLang="ja-JP" dirty="0" smtClean="0"/>
            </a:br>
            <a:r>
              <a:rPr kumimoji="1" lang="ja-JP" altLang="en-US" dirty="0" smtClean="0"/>
              <a:t>キーメッセージ</a:t>
            </a:r>
            <a:r>
              <a:rPr kumimoji="1" lang="en-US" altLang="ja-JP" dirty="0" smtClean="0"/>
              <a:t>:</a:t>
            </a:r>
            <a:r>
              <a:rPr kumimoji="1" lang="ja-JP" altLang="en-US" dirty="0" smtClean="0"/>
              <a:t>（スライドで一番伝えたいこと</a:t>
            </a:r>
            <a:r>
              <a:rPr kumimoji="1" lang="en-US" altLang="ja-JP" dirty="0" smtClean="0"/>
              <a:t>1</a:t>
            </a:r>
            <a:r>
              <a:rPr kumimoji="1" lang="ja-JP" altLang="en-US" dirty="0" smtClean="0"/>
              <a:t>行</a:t>
            </a:r>
            <a:r>
              <a:rPr kumimoji="1" lang="en-US" altLang="ja-JP" dirty="0" smtClean="0"/>
              <a:t>*</a:t>
            </a:r>
            <a:r>
              <a:rPr kumimoji="1" lang="ja-JP" altLang="en-US" dirty="0" smtClean="0"/>
              <a:t>名詞・体言止め不可）</a:t>
            </a:r>
            <a:endParaRPr kumimoji="1" lang="ja-JP" altLang="en-US" dirty="0"/>
          </a:p>
        </p:txBody>
      </p:sp>
      <p:sp>
        <p:nvSpPr>
          <p:cNvPr id="12" name="テキスト プレースホルダー 5"/>
          <p:cNvSpPr>
            <a:spLocks noGrp="1"/>
          </p:cNvSpPr>
          <p:nvPr>
            <p:ph type="body" sz="quarter" idx="13" hasCustomPrompt="1"/>
          </p:nvPr>
        </p:nvSpPr>
        <p:spPr>
          <a:xfrm>
            <a:off x="417000" y="908720"/>
            <a:ext cx="9072000" cy="648072"/>
          </a:xfrm>
          <a:prstGeom prst="rect">
            <a:avLst/>
          </a:prstGeom>
        </p:spPr>
        <p:txBody>
          <a:bodyPr vert="horz" lIns="71996" tIns="0" rIns="71996" bIns="0" rtlCol="0">
            <a:noAutofit/>
          </a:bodyPr>
          <a:lstStyle>
            <a:lvl1pPr marL="0" marR="0" indent="0" algn="l" defTabSz="914349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altLang="ja-JP" sz="1800" baseline="0" dirty="0" smtClean="0">
                <a:cs typeface="Arial" pitchFamily="34" charset="0"/>
              </a:defRPr>
            </a:lvl1pPr>
          </a:lstStyle>
          <a:p>
            <a:pPr marL="0" marR="0" lvl="0" indent="0" algn="l" defTabSz="914349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ja-JP" altLang="en-US" dirty="0" smtClean="0"/>
              <a:t>本文を入力</a:t>
            </a:r>
            <a:r>
              <a:rPr lang="en-US" altLang="ja-JP" dirty="0" smtClean="0"/>
              <a:t>(</a:t>
            </a:r>
            <a:r>
              <a:rPr lang="ja-JP" altLang="en-US" dirty="0" smtClean="0"/>
              <a:t>キーメッセージを補足する内容＜</a:t>
            </a:r>
            <a:r>
              <a:rPr lang="en-US" altLang="ja-JP" dirty="0" smtClean="0"/>
              <a:t>2</a:t>
            </a:r>
            <a:r>
              <a:rPr lang="ja-JP" altLang="en-US" dirty="0" smtClean="0"/>
              <a:t>行以内＞</a:t>
            </a:r>
            <a:r>
              <a:rPr lang="en-US" altLang="ja-JP" dirty="0" smtClean="0"/>
              <a:t>)</a:t>
            </a:r>
          </a:p>
        </p:txBody>
      </p:sp>
      <p:sp>
        <p:nvSpPr>
          <p:cNvPr id="13" name="テキスト プレースホルダー 6"/>
          <p:cNvSpPr>
            <a:spLocks noGrp="1"/>
          </p:cNvSpPr>
          <p:nvPr>
            <p:ph type="body" sz="quarter" idx="14" hasCustomPrompt="1"/>
          </p:nvPr>
        </p:nvSpPr>
        <p:spPr>
          <a:xfrm>
            <a:off x="417000" y="1556792"/>
            <a:ext cx="9072000" cy="431800"/>
          </a:xfrm>
          <a:prstGeom prst="rect">
            <a:avLst/>
          </a:prstGeom>
        </p:spPr>
        <p:txBody>
          <a:bodyPr vert="horz" wrap="none" lIns="71996" tIns="71996" rIns="71996" bIns="71996" rtlCol="0" anchor="ctr">
            <a:noAutofit/>
          </a:bodyPr>
          <a:lstStyle>
            <a:lvl1pPr>
              <a:defRPr lang="ja-JP" altLang="en-US" sz="1800" b="1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： </a:t>
            </a:r>
            <a:r>
              <a:rPr kumimoji="1" lang="en-US" altLang="ja-JP" dirty="0" smtClean="0"/>
              <a:t>18pt</a:t>
            </a:r>
            <a:r>
              <a:rPr kumimoji="1" lang="ja-JP" altLang="en-US" dirty="0" err="1" smtClean="0"/>
              <a:t>、</a:t>
            </a:r>
            <a:r>
              <a:rPr kumimoji="1" lang="en-US" altLang="ja-JP" dirty="0" smtClean="0"/>
              <a:t>1</a:t>
            </a:r>
            <a:r>
              <a:rPr kumimoji="1" lang="ja-JP" altLang="en-US" dirty="0" smtClean="0"/>
              <a:t>行</a:t>
            </a:r>
            <a:r>
              <a:rPr kumimoji="1" lang="en-US" altLang="ja-JP" dirty="0" smtClean="0"/>
              <a:t>(</a:t>
            </a:r>
            <a:r>
              <a:rPr kumimoji="1" lang="ja-JP" altLang="en-US" dirty="0" smtClean="0"/>
              <a:t>ワーキングエリア内のコンテンツを説明する表題を入れる</a:t>
            </a:r>
            <a:r>
              <a:rPr kumimoji="1" lang="en-US" altLang="ja-JP" dirty="0" smtClean="0"/>
              <a:t>)</a:t>
            </a:r>
            <a:endParaRPr kumimoji="1" lang="ja-JP" altLang="en-US" dirty="0"/>
          </a:p>
        </p:txBody>
      </p:sp>
      <p:sp>
        <p:nvSpPr>
          <p:cNvPr id="113" name="Text Box 7"/>
          <p:cNvSpPr txBox="1">
            <a:spLocks noChangeArrowheads="1"/>
          </p:cNvSpPr>
          <p:nvPr userDrawn="1"/>
        </p:nvSpPr>
        <p:spPr bwMode="gray">
          <a:xfrm>
            <a:off x="5702400" y="6588002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marL="0" marR="0" indent="0" algn="r" defTabSz="914349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900" kern="1200" dirty="0" smtClean="0">
                <a:solidFill>
                  <a:schemeClr val="tx2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6. For information, contact Tohmatsu Innovation Co., Ltd.</a:t>
            </a:r>
          </a:p>
        </p:txBody>
      </p:sp>
    </p:spTree>
    <p:extLst>
      <p:ext uri="{BB962C8B-B14F-4D97-AF65-F5344CB8AC3E}">
        <p14:creationId xmlns:p14="http://schemas.microsoft.com/office/powerpoint/2010/main" val="2193949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基本版：LA_16_9_Onsc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タイトル"/>
          <p:cNvSpPr>
            <a:spLocks noGrp="1"/>
          </p:cNvSpPr>
          <p:nvPr>
            <p:ph type="title" hasCustomPrompt="1"/>
          </p:nvPr>
        </p:nvSpPr>
        <p:spPr bwMode="gray">
          <a:xfrm>
            <a:off x="388673" y="483237"/>
            <a:ext cx="9127842" cy="640715"/>
          </a:xfrm>
          <a:prstGeom prst="rect">
            <a:avLst/>
          </a:prstGeom>
        </p:spPr>
        <p:txBody>
          <a:bodyPr lIns="36000" tIns="36000" rIns="36000" bIns="36000" anchor="b"/>
          <a:lstStyle>
            <a:lvl1pPr>
              <a:lnSpc>
                <a:spcPct val="80000"/>
              </a:lnSpc>
              <a:defRPr sz="3033" baseline="0"/>
            </a:lvl1pPr>
          </a:lstStyle>
          <a:p>
            <a:r>
              <a:rPr lang="ja-JP" altLang="en-US" noProof="0" dirty="0" smtClean="0"/>
              <a:t>スライドタイトル（</a:t>
            </a:r>
            <a:r>
              <a:rPr lang="en-US" altLang="ja-JP" noProof="0" dirty="0" smtClean="0"/>
              <a:t>28pt</a:t>
            </a:r>
            <a:r>
              <a:rPr lang="ja-JP" altLang="en-US" noProof="0" dirty="0" smtClean="0"/>
              <a:t>／太字）</a:t>
            </a:r>
            <a:endParaRPr kumimoji="1" lang="ja-JP" altLang="en-US" dirty="0"/>
          </a:p>
        </p:txBody>
      </p:sp>
      <p:sp>
        <p:nvSpPr>
          <p:cNvPr id="48" name="コンテンツ プレースホルダー 47"/>
          <p:cNvSpPr>
            <a:spLocks noGrp="1"/>
          </p:cNvSpPr>
          <p:nvPr>
            <p:ph sz="quarter" idx="11" hasCustomPrompt="1"/>
          </p:nvPr>
        </p:nvSpPr>
        <p:spPr bwMode="gray">
          <a:xfrm>
            <a:off x="390393" y="1316567"/>
            <a:ext cx="9128654" cy="48725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17"/>
              </a:spcBef>
              <a:spcAft>
                <a:spcPts val="217"/>
              </a:spcAft>
              <a:buNone/>
              <a:defRPr sz="1950" baseline="0">
                <a:latin typeface="+mn-lt"/>
              </a:defRPr>
            </a:lvl1pPr>
            <a:lvl2pPr marL="288916" indent="-288916" algn="l">
              <a:spcBef>
                <a:spcPts val="217"/>
              </a:spcBef>
              <a:spcAft>
                <a:spcPts val="217"/>
              </a:spcAft>
              <a:buClr>
                <a:schemeClr val="bg2"/>
              </a:buClr>
              <a:buFont typeface="Wingdings" panose="05000000000000000000" pitchFamily="2" charset="2"/>
              <a:buChar char="u"/>
              <a:defRPr sz="1950">
                <a:latin typeface="+mn-lt"/>
              </a:defRPr>
            </a:lvl2pPr>
            <a:lvl3pPr marL="486687" marR="0" indent="-197770" algn="l" defTabSz="804784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950"/>
            </a:lvl3pPr>
            <a:lvl4pPr marL="775603" marR="0" indent="-213248" algn="l" defTabSz="804784" rtl="0" eaLnBrk="1" fontAlgn="auto" latinLnBrk="0" hangingPunct="1">
              <a:lnSpc>
                <a:spcPct val="100000"/>
              </a:lnSpc>
              <a:spcBef>
                <a:spcPts val="217"/>
              </a:spcBef>
              <a:spcAft>
                <a:spcPts val="217"/>
              </a:spcAft>
              <a:buClrTx/>
              <a:buSzPct val="100000"/>
              <a:buFont typeface="Arial" panose="020B0604020202020204" pitchFamily="34" charset="0"/>
              <a:buChar char="-"/>
              <a:tabLst/>
              <a:defRPr sz="1950">
                <a:latin typeface="+mn-lt"/>
              </a:defRPr>
            </a:lvl4pPr>
            <a:lvl5pPr marL="1066238" indent="-192611" algn="l">
              <a:spcBef>
                <a:spcPts val="217"/>
              </a:spcBef>
              <a:spcAft>
                <a:spcPts val="217"/>
              </a:spcAft>
              <a:buFont typeface="Arial" panose="020B0604020202020204" pitchFamily="34" charset="0"/>
              <a:buChar char="-"/>
              <a:defRPr sz="1950"/>
            </a:lvl5pPr>
            <a:lvl6pPr marL="1064519" indent="-190892">
              <a:buFont typeface="Arial" panose="020B0604020202020204" pitchFamily="34" charset="0"/>
              <a:buChar char="-"/>
              <a:defRPr sz="1950"/>
            </a:lvl6pPr>
          </a:lstStyle>
          <a:p>
            <a:pPr lvl="0"/>
            <a:r>
              <a:rPr kumimoji="1" lang="ja-JP" altLang="en-US" dirty="0" smtClean="0"/>
              <a:t>ワーキングエリア内にテキストを入力（</a:t>
            </a:r>
            <a:r>
              <a:rPr kumimoji="1" lang="en-US" altLang="ja-JP" dirty="0" smtClean="0"/>
              <a:t>18pt</a:t>
            </a:r>
            <a:r>
              <a:rPr kumimoji="1" lang="ja-JP" altLang="en-US" dirty="0" smtClean="0"/>
              <a:t>以上）</a:t>
            </a:r>
            <a:r>
              <a:rPr kumimoji="1" lang="en-US" altLang="ja-JP" dirty="0" smtClean="0"/>
              <a:t/>
            </a:r>
            <a:br>
              <a:rPr kumimoji="1" lang="en-US" altLang="ja-JP" dirty="0" smtClean="0"/>
            </a:br>
            <a:r>
              <a:rPr kumimoji="1" lang="ja-JP" altLang="en-US" dirty="0" smtClean="0"/>
              <a:t>インデントを増やす（</a:t>
            </a:r>
            <a:r>
              <a:rPr kumimoji="1" lang="en-US" altLang="ja-JP" dirty="0" smtClean="0"/>
              <a:t>[</a:t>
            </a:r>
            <a:r>
              <a:rPr kumimoji="1" lang="ja-JP" altLang="en-US" dirty="0" smtClean="0"/>
              <a:t>ホーム</a:t>
            </a:r>
            <a:r>
              <a:rPr kumimoji="1" lang="en-US" altLang="ja-JP" dirty="0" smtClean="0"/>
              <a:t>]</a:t>
            </a:r>
            <a:r>
              <a:rPr kumimoji="1" lang="ja-JP" altLang="en-US" dirty="0" smtClean="0"/>
              <a:t>＞</a:t>
            </a:r>
            <a:r>
              <a:rPr kumimoji="1" lang="en-US" altLang="ja-JP" dirty="0" smtClean="0"/>
              <a:t>[</a:t>
            </a:r>
            <a:r>
              <a:rPr kumimoji="1" lang="ja-JP" altLang="en-US" dirty="0" smtClean="0"/>
              <a:t>段落</a:t>
            </a:r>
            <a:r>
              <a:rPr kumimoji="1" lang="en-US" altLang="ja-JP" dirty="0" smtClean="0"/>
              <a:t>]</a:t>
            </a:r>
            <a:r>
              <a:rPr kumimoji="1" lang="ja-JP" altLang="en-US" dirty="0" smtClean="0"/>
              <a:t>＞</a:t>
            </a:r>
            <a:r>
              <a:rPr kumimoji="1" lang="en-US" altLang="ja-JP" dirty="0" smtClean="0"/>
              <a:t>[</a:t>
            </a:r>
            <a:r>
              <a:rPr kumimoji="1" lang="ja-JP" altLang="en-US" dirty="0" smtClean="0"/>
              <a:t>インデントを増やす</a:t>
            </a:r>
            <a:r>
              <a:rPr kumimoji="1" lang="en-US" altLang="ja-JP" dirty="0" smtClean="0"/>
              <a:t>]</a:t>
            </a:r>
            <a:r>
              <a:rPr kumimoji="1" lang="ja-JP" altLang="en-US" dirty="0" smtClean="0"/>
              <a:t>もしくは</a:t>
            </a:r>
            <a:r>
              <a:rPr kumimoji="1" lang="en-US" altLang="ja-JP" dirty="0" smtClean="0"/>
              <a:t>[Alt]</a:t>
            </a:r>
            <a:r>
              <a:rPr kumimoji="1" lang="ja-JP" altLang="en-US" dirty="0" smtClean="0"/>
              <a:t> </a:t>
            </a:r>
            <a:r>
              <a:rPr kumimoji="1" lang="en-US" altLang="ja-JP" dirty="0" smtClean="0"/>
              <a:t>[Shift] [ → ]</a:t>
            </a:r>
            <a:r>
              <a:rPr kumimoji="1" lang="ja-JP" altLang="en-US" dirty="0" smtClean="0"/>
              <a:t>）ことで、レベル下げが可能</a:t>
            </a:r>
          </a:p>
          <a:p>
            <a:pPr lvl="1"/>
            <a:r>
              <a:rPr kumimoji="1" lang="ja-JP" altLang="en-US" dirty="0" smtClean="0"/>
              <a:t>箇条書きテキスト（レベル</a:t>
            </a:r>
            <a:r>
              <a:rPr kumimoji="1" lang="en-US" altLang="ja-JP" dirty="0" smtClean="0"/>
              <a:t>1</a:t>
            </a:r>
            <a:r>
              <a:rPr kumimoji="1" lang="ja-JP" altLang="en-US" dirty="0" smtClean="0"/>
              <a:t>）</a:t>
            </a:r>
            <a:endParaRPr kumimoji="1" lang="en-US" altLang="ja-JP" dirty="0" smtClean="0"/>
          </a:p>
          <a:p>
            <a:pPr lvl="2"/>
            <a:r>
              <a:rPr kumimoji="1" lang="ja-JP" altLang="en-US" dirty="0" smtClean="0"/>
              <a:t>箇条書きテキスト（レベル</a:t>
            </a:r>
            <a:r>
              <a:rPr kumimoji="1" lang="en-US" altLang="ja-JP" dirty="0" smtClean="0"/>
              <a:t>2</a:t>
            </a:r>
            <a:r>
              <a:rPr kumimoji="1" lang="ja-JP" altLang="en-US" dirty="0" smtClean="0"/>
              <a:t>）</a:t>
            </a:r>
            <a:endParaRPr kumimoji="1" lang="en-US" altLang="ja-JP" dirty="0" smtClean="0"/>
          </a:p>
          <a:p>
            <a:pPr lvl="3"/>
            <a:r>
              <a:rPr kumimoji="1" lang="ja-JP" altLang="en-US" dirty="0" smtClean="0"/>
              <a:t>箇条書きテキスト（レベル</a:t>
            </a:r>
            <a:r>
              <a:rPr kumimoji="1" lang="en-US" altLang="ja-JP" dirty="0" smtClean="0"/>
              <a:t>3</a:t>
            </a:r>
            <a:r>
              <a:rPr kumimoji="1" lang="ja-JP" altLang="en-US" dirty="0" smtClean="0"/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309458773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基本版：LA_16_9_Onsc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タイトル"/>
          <p:cNvSpPr>
            <a:spLocks noGrp="1"/>
          </p:cNvSpPr>
          <p:nvPr>
            <p:ph type="title" hasCustomPrompt="1"/>
          </p:nvPr>
        </p:nvSpPr>
        <p:spPr bwMode="gray">
          <a:xfrm>
            <a:off x="388673" y="483237"/>
            <a:ext cx="9127842" cy="640715"/>
          </a:xfrm>
          <a:prstGeom prst="rect">
            <a:avLst/>
          </a:prstGeom>
        </p:spPr>
        <p:txBody>
          <a:bodyPr lIns="36000" tIns="36000" rIns="36000" bIns="36000" anchor="b"/>
          <a:lstStyle>
            <a:lvl1pPr>
              <a:lnSpc>
                <a:spcPct val="80000"/>
              </a:lnSpc>
              <a:defRPr sz="3033" baseline="0"/>
            </a:lvl1pPr>
          </a:lstStyle>
          <a:p>
            <a:r>
              <a:rPr lang="ja-JP" altLang="en-US" noProof="0" dirty="0" smtClean="0"/>
              <a:t>スライドタイトル（</a:t>
            </a:r>
            <a:r>
              <a:rPr lang="en-US" altLang="ja-JP" noProof="0" dirty="0" smtClean="0"/>
              <a:t>28pt</a:t>
            </a:r>
            <a:r>
              <a:rPr lang="ja-JP" altLang="en-US" noProof="0" dirty="0" smtClean="0"/>
              <a:t>／太字）</a:t>
            </a:r>
            <a:endParaRPr kumimoji="1" lang="ja-JP" altLang="en-US" dirty="0"/>
          </a:p>
        </p:txBody>
      </p:sp>
      <p:sp>
        <p:nvSpPr>
          <p:cNvPr id="5" name="コンテンツ プレースホルダー 47"/>
          <p:cNvSpPr>
            <a:spLocks noGrp="1"/>
          </p:cNvSpPr>
          <p:nvPr>
            <p:ph sz="quarter" idx="11" hasCustomPrompt="1"/>
          </p:nvPr>
        </p:nvSpPr>
        <p:spPr bwMode="gray">
          <a:xfrm>
            <a:off x="390394" y="1797051"/>
            <a:ext cx="4383748" cy="43920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17"/>
              </a:spcBef>
              <a:spcAft>
                <a:spcPts val="217"/>
              </a:spcAft>
              <a:buNone/>
              <a:defRPr sz="1950" baseline="0">
                <a:latin typeface="+mn-lt"/>
              </a:defRPr>
            </a:lvl1pPr>
            <a:lvl2pPr marL="288916" indent="-288916" algn="l">
              <a:spcBef>
                <a:spcPts val="217"/>
              </a:spcBef>
              <a:spcAft>
                <a:spcPts val="217"/>
              </a:spcAft>
              <a:buClr>
                <a:schemeClr val="bg2"/>
              </a:buClr>
              <a:buFont typeface="Wingdings" panose="05000000000000000000" pitchFamily="2" charset="2"/>
              <a:buChar char="u"/>
              <a:defRPr sz="1950">
                <a:latin typeface="+mn-lt"/>
              </a:defRPr>
            </a:lvl2pPr>
            <a:lvl3pPr marL="486687" marR="0" indent="-197770" algn="l" defTabSz="804784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950"/>
            </a:lvl3pPr>
            <a:lvl4pPr marL="775603" marR="0" indent="-213248" algn="l" defTabSz="804784" rtl="0" eaLnBrk="1" fontAlgn="auto" latinLnBrk="0" hangingPunct="1">
              <a:lnSpc>
                <a:spcPct val="100000"/>
              </a:lnSpc>
              <a:spcBef>
                <a:spcPts val="217"/>
              </a:spcBef>
              <a:spcAft>
                <a:spcPts val="217"/>
              </a:spcAft>
              <a:buClrTx/>
              <a:buSzPct val="100000"/>
              <a:buFont typeface="Arial" panose="020B0604020202020204" pitchFamily="34" charset="0"/>
              <a:buChar char="-"/>
              <a:tabLst/>
              <a:defRPr sz="1950">
                <a:latin typeface="+mn-lt"/>
              </a:defRPr>
            </a:lvl4pPr>
            <a:lvl5pPr marL="1066238" indent="-192611" algn="l">
              <a:spcBef>
                <a:spcPts val="217"/>
              </a:spcBef>
              <a:spcAft>
                <a:spcPts val="217"/>
              </a:spcAft>
              <a:buFont typeface="Arial" panose="020B0604020202020204" pitchFamily="34" charset="0"/>
              <a:buChar char="-"/>
              <a:defRPr sz="1950"/>
            </a:lvl5pPr>
            <a:lvl6pPr marL="1064519" indent="-190892">
              <a:buFont typeface="Arial" panose="020B0604020202020204" pitchFamily="34" charset="0"/>
              <a:buChar char="-"/>
              <a:defRPr sz="1950"/>
            </a:lvl6pPr>
          </a:lstStyle>
          <a:p>
            <a:pPr lvl="0"/>
            <a:r>
              <a:rPr kumimoji="1" lang="ja-JP" altLang="en-US" dirty="0" smtClean="0"/>
              <a:t>ワーキングエリア内にテキストを入力（</a:t>
            </a:r>
            <a:r>
              <a:rPr kumimoji="1" lang="en-US" altLang="ja-JP" dirty="0" smtClean="0"/>
              <a:t>18pt</a:t>
            </a:r>
            <a:r>
              <a:rPr kumimoji="1" lang="ja-JP" altLang="en-US" dirty="0" smtClean="0"/>
              <a:t>以上）</a:t>
            </a:r>
            <a:r>
              <a:rPr kumimoji="1" lang="en-US" altLang="ja-JP" dirty="0" smtClean="0"/>
              <a:t/>
            </a:r>
            <a:br>
              <a:rPr kumimoji="1" lang="en-US" altLang="ja-JP" dirty="0" smtClean="0"/>
            </a:br>
            <a:r>
              <a:rPr kumimoji="1" lang="ja-JP" altLang="en-US" dirty="0" smtClean="0"/>
              <a:t>インデントを増やす（</a:t>
            </a:r>
            <a:r>
              <a:rPr kumimoji="1" lang="en-US" altLang="ja-JP" dirty="0" smtClean="0"/>
              <a:t>[</a:t>
            </a:r>
            <a:r>
              <a:rPr kumimoji="1" lang="ja-JP" altLang="en-US" dirty="0" smtClean="0"/>
              <a:t>ホーム</a:t>
            </a:r>
            <a:r>
              <a:rPr kumimoji="1" lang="en-US" altLang="ja-JP" dirty="0" smtClean="0"/>
              <a:t>]</a:t>
            </a:r>
            <a:r>
              <a:rPr kumimoji="1" lang="ja-JP" altLang="en-US" dirty="0" smtClean="0"/>
              <a:t>＞</a:t>
            </a:r>
            <a:r>
              <a:rPr kumimoji="1" lang="en-US" altLang="ja-JP" dirty="0" smtClean="0"/>
              <a:t>[</a:t>
            </a:r>
            <a:r>
              <a:rPr kumimoji="1" lang="ja-JP" altLang="en-US" dirty="0" smtClean="0"/>
              <a:t>段落</a:t>
            </a:r>
            <a:r>
              <a:rPr kumimoji="1" lang="en-US" altLang="ja-JP" dirty="0" smtClean="0"/>
              <a:t>]</a:t>
            </a:r>
            <a:r>
              <a:rPr kumimoji="1" lang="ja-JP" altLang="en-US" dirty="0" smtClean="0"/>
              <a:t>＞</a:t>
            </a:r>
            <a:r>
              <a:rPr kumimoji="1" lang="en-US" altLang="ja-JP" dirty="0" smtClean="0"/>
              <a:t>[</a:t>
            </a:r>
            <a:r>
              <a:rPr kumimoji="1" lang="ja-JP" altLang="en-US" dirty="0" smtClean="0"/>
              <a:t>インデントを増やす</a:t>
            </a:r>
            <a:r>
              <a:rPr kumimoji="1" lang="en-US" altLang="ja-JP" dirty="0" smtClean="0"/>
              <a:t>]</a:t>
            </a:r>
            <a:r>
              <a:rPr kumimoji="1" lang="ja-JP" altLang="en-US" dirty="0" smtClean="0"/>
              <a:t>もしくは</a:t>
            </a:r>
            <a:r>
              <a:rPr kumimoji="1" lang="en-US" altLang="ja-JP" dirty="0" smtClean="0"/>
              <a:t>[Alt]</a:t>
            </a:r>
            <a:r>
              <a:rPr kumimoji="1" lang="ja-JP" altLang="en-US" dirty="0" smtClean="0"/>
              <a:t> </a:t>
            </a:r>
            <a:r>
              <a:rPr kumimoji="1" lang="en-US" altLang="ja-JP" dirty="0" smtClean="0"/>
              <a:t>[Shift] [ → ]</a:t>
            </a:r>
            <a:r>
              <a:rPr kumimoji="1" lang="ja-JP" altLang="en-US" dirty="0" smtClean="0"/>
              <a:t>）ことで、レベル下げが可能</a:t>
            </a:r>
          </a:p>
          <a:p>
            <a:pPr lvl="1"/>
            <a:r>
              <a:rPr kumimoji="1" lang="ja-JP" altLang="en-US" dirty="0" smtClean="0"/>
              <a:t>箇条書きテキスト（レベル</a:t>
            </a:r>
            <a:r>
              <a:rPr kumimoji="1" lang="en-US" altLang="ja-JP" dirty="0" smtClean="0"/>
              <a:t>1</a:t>
            </a:r>
            <a:r>
              <a:rPr kumimoji="1" lang="ja-JP" altLang="en-US" dirty="0" smtClean="0"/>
              <a:t>）</a:t>
            </a:r>
            <a:endParaRPr kumimoji="1" lang="en-US" altLang="ja-JP" dirty="0" smtClean="0"/>
          </a:p>
          <a:p>
            <a:pPr lvl="2"/>
            <a:r>
              <a:rPr kumimoji="1" lang="ja-JP" altLang="en-US" dirty="0" smtClean="0"/>
              <a:t>箇条書きテキスト（レベル</a:t>
            </a:r>
            <a:r>
              <a:rPr kumimoji="1" lang="en-US" altLang="ja-JP" dirty="0" smtClean="0"/>
              <a:t>2</a:t>
            </a:r>
            <a:r>
              <a:rPr kumimoji="1" lang="ja-JP" altLang="en-US" dirty="0" smtClean="0"/>
              <a:t>）</a:t>
            </a:r>
            <a:endParaRPr kumimoji="1" lang="en-US" altLang="ja-JP" dirty="0" smtClean="0"/>
          </a:p>
          <a:p>
            <a:pPr lvl="3"/>
            <a:r>
              <a:rPr kumimoji="1" lang="ja-JP" altLang="en-US" dirty="0" smtClean="0"/>
              <a:t>箇条書きテキスト（レベル</a:t>
            </a:r>
            <a:r>
              <a:rPr kumimoji="1" lang="en-US" altLang="ja-JP" dirty="0" smtClean="0"/>
              <a:t>3</a:t>
            </a:r>
            <a:r>
              <a:rPr kumimoji="1" lang="ja-JP" altLang="en-US" dirty="0" smtClean="0"/>
              <a:t>）</a:t>
            </a:r>
          </a:p>
        </p:txBody>
      </p:sp>
      <p:sp>
        <p:nvSpPr>
          <p:cNvPr id="6" name="Header（基本版／左）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8673" y="1316567"/>
            <a:ext cx="4385469" cy="480484"/>
          </a:xfrm>
          <a:prstGeom prst="rect">
            <a:avLst/>
          </a:prstGeom>
        </p:spPr>
        <p:txBody>
          <a:bodyPr vert="horz" wrap="none" lIns="72000" tIns="0" rIns="0" bIns="0" rtlCol="0" anchor="ctr">
            <a:noAutofit/>
          </a:bodyPr>
          <a:lstStyle>
            <a:lvl1pPr marL="0" indent="0">
              <a:buNone/>
              <a:defRPr lang="ja-JP" altLang="en-US" sz="2167" b="1" baseline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kumimoji="1" lang="en-US" altLang="ja-JP" dirty="0"/>
              <a:t>Header</a:t>
            </a:r>
            <a:r>
              <a:rPr kumimoji="1" lang="ja-JP" altLang="en-US" dirty="0"/>
              <a:t>（スライドタイトル／</a:t>
            </a:r>
            <a:r>
              <a:rPr kumimoji="1" lang="en-US" altLang="ja-JP" dirty="0"/>
              <a:t>20pt</a:t>
            </a:r>
            <a:r>
              <a:rPr kumimoji="1" lang="ja-JP" altLang="en-US" dirty="0"/>
              <a:t> 太字）</a:t>
            </a:r>
          </a:p>
        </p:txBody>
      </p:sp>
      <p:sp>
        <p:nvSpPr>
          <p:cNvPr id="7" name="コンテンツ プレースホルダー 47"/>
          <p:cNvSpPr>
            <a:spLocks noGrp="1"/>
          </p:cNvSpPr>
          <p:nvPr>
            <p:ph sz="quarter" idx="16" hasCustomPrompt="1"/>
          </p:nvPr>
        </p:nvSpPr>
        <p:spPr bwMode="gray">
          <a:xfrm>
            <a:off x="5135300" y="1797051"/>
            <a:ext cx="4383748" cy="43920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17"/>
              </a:spcBef>
              <a:spcAft>
                <a:spcPts val="217"/>
              </a:spcAft>
              <a:buNone/>
              <a:defRPr sz="1950" baseline="0">
                <a:latin typeface="+mn-lt"/>
              </a:defRPr>
            </a:lvl1pPr>
            <a:lvl2pPr marL="288916" indent="-288916" algn="l">
              <a:spcBef>
                <a:spcPts val="217"/>
              </a:spcBef>
              <a:spcAft>
                <a:spcPts val="217"/>
              </a:spcAft>
              <a:buClr>
                <a:schemeClr val="bg2"/>
              </a:buClr>
              <a:buFont typeface="Wingdings" panose="05000000000000000000" pitchFamily="2" charset="2"/>
              <a:buChar char="u"/>
              <a:defRPr sz="1950">
                <a:latin typeface="+mn-lt"/>
              </a:defRPr>
            </a:lvl2pPr>
            <a:lvl3pPr marL="486687" marR="0" indent="-197770" algn="l" defTabSz="804784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950"/>
            </a:lvl3pPr>
            <a:lvl4pPr marL="775603" marR="0" indent="-213248" algn="l" defTabSz="804784" rtl="0" eaLnBrk="1" fontAlgn="auto" latinLnBrk="0" hangingPunct="1">
              <a:lnSpc>
                <a:spcPct val="100000"/>
              </a:lnSpc>
              <a:spcBef>
                <a:spcPts val="217"/>
              </a:spcBef>
              <a:spcAft>
                <a:spcPts val="217"/>
              </a:spcAft>
              <a:buClrTx/>
              <a:buSzPct val="100000"/>
              <a:buFont typeface="Arial" panose="020B0604020202020204" pitchFamily="34" charset="0"/>
              <a:buChar char="-"/>
              <a:tabLst/>
              <a:defRPr sz="1950">
                <a:latin typeface="+mn-lt"/>
              </a:defRPr>
            </a:lvl4pPr>
            <a:lvl5pPr marL="1066238" indent="-192611" algn="l">
              <a:spcBef>
                <a:spcPts val="217"/>
              </a:spcBef>
              <a:spcAft>
                <a:spcPts val="217"/>
              </a:spcAft>
              <a:buFont typeface="Arial" panose="020B0604020202020204" pitchFamily="34" charset="0"/>
              <a:buChar char="-"/>
              <a:defRPr sz="1950"/>
            </a:lvl5pPr>
            <a:lvl6pPr marL="1064519" indent="-190892">
              <a:buFont typeface="Arial" panose="020B0604020202020204" pitchFamily="34" charset="0"/>
              <a:buChar char="-"/>
              <a:defRPr sz="1950"/>
            </a:lvl6pPr>
          </a:lstStyle>
          <a:p>
            <a:pPr lvl="0"/>
            <a:r>
              <a:rPr kumimoji="1" lang="ja-JP" altLang="en-US" dirty="0" smtClean="0"/>
              <a:t>ワーキングエリア内にテキストを入力（</a:t>
            </a:r>
            <a:r>
              <a:rPr kumimoji="1" lang="en-US" altLang="ja-JP" dirty="0" smtClean="0"/>
              <a:t>18pt</a:t>
            </a:r>
            <a:r>
              <a:rPr kumimoji="1" lang="ja-JP" altLang="en-US" dirty="0" smtClean="0"/>
              <a:t>以上）</a:t>
            </a:r>
            <a:r>
              <a:rPr kumimoji="1" lang="en-US" altLang="ja-JP" dirty="0" smtClean="0"/>
              <a:t/>
            </a:r>
            <a:br>
              <a:rPr kumimoji="1" lang="en-US" altLang="ja-JP" dirty="0" smtClean="0"/>
            </a:br>
            <a:r>
              <a:rPr kumimoji="1" lang="ja-JP" altLang="en-US" dirty="0" smtClean="0"/>
              <a:t>インデントを増やす（</a:t>
            </a:r>
            <a:r>
              <a:rPr kumimoji="1" lang="en-US" altLang="ja-JP" dirty="0" smtClean="0"/>
              <a:t>[</a:t>
            </a:r>
            <a:r>
              <a:rPr kumimoji="1" lang="ja-JP" altLang="en-US" dirty="0" smtClean="0"/>
              <a:t>ホーム</a:t>
            </a:r>
            <a:r>
              <a:rPr kumimoji="1" lang="en-US" altLang="ja-JP" dirty="0" smtClean="0"/>
              <a:t>]</a:t>
            </a:r>
            <a:r>
              <a:rPr kumimoji="1" lang="ja-JP" altLang="en-US" dirty="0" smtClean="0"/>
              <a:t>＞</a:t>
            </a:r>
            <a:r>
              <a:rPr kumimoji="1" lang="en-US" altLang="ja-JP" dirty="0" smtClean="0"/>
              <a:t>[</a:t>
            </a:r>
            <a:r>
              <a:rPr kumimoji="1" lang="ja-JP" altLang="en-US" dirty="0" smtClean="0"/>
              <a:t>段落</a:t>
            </a:r>
            <a:r>
              <a:rPr kumimoji="1" lang="en-US" altLang="ja-JP" dirty="0" smtClean="0"/>
              <a:t>]</a:t>
            </a:r>
            <a:r>
              <a:rPr kumimoji="1" lang="ja-JP" altLang="en-US" dirty="0" smtClean="0"/>
              <a:t>＞</a:t>
            </a:r>
            <a:r>
              <a:rPr kumimoji="1" lang="en-US" altLang="ja-JP" dirty="0" smtClean="0"/>
              <a:t>[</a:t>
            </a:r>
            <a:r>
              <a:rPr kumimoji="1" lang="ja-JP" altLang="en-US" dirty="0" smtClean="0"/>
              <a:t>インデントを増やす</a:t>
            </a:r>
            <a:r>
              <a:rPr kumimoji="1" lang="en-US" altLang="ja-JP" dirty="0" smtClean="0"/>
              <a:t>]</a:t>
            </a:r>
            <a:r>
              <a:rPr kumimoji="1" lang="ja-JP" altLang="en-US" dirty="0" smtClean="0"/>
              <a:t>もしくは</a:t>
            </a:r>
            <a:r>
              <a:rPr kumimoji="1" lang="en-US" altLang="ja-JP" dirty="0" smtClean="0"/>
              <a:t>[Alt]</a:t>
            </a:r>
            <a:r>
              <a:rPr kumimoji="1" lang="ja-JP" altLang="en-US" dirty="0" smtClean="0"/>
              <a:t> </a:t>
            </a:r>
            <a:r>
              <a:rPr kumimoji="1" lang="en-US" altLang="ja-JP" dirty="0" smtClean="0"/>
              <a:t>[Shift] [ → ]</a:t>
            </a:r>
            <a:r>
              <a:rPr kumimoji="1" lang="ja-JP" altLang="en-US" dirty="0" smtClean="0"/>
              <a:t>）ことで、レベル下げが可能</a:t>
            </a:r>
          </a:p>
          <a:p>
            <a:pPr lvl="1"/>
            <a:r>
              <a:rPr kumimoji="1" lang="ja-JP" altLang="en-US" dirty="0" smtClean="0"/>
              <a:t>箇条書きテキスト（レベル</a:t>
            </a:r>
            <a:r>
              <a:rPr kumimoji="1" lang="en-US" altLang="ja-JP" dirty="0" smtClean="0"/>
              <a:t>1</a:t>
            </a:r>
            <a:r>
              <a:rPr kumimoji="1" lang="ja-JP" altLang="en-US" dirty="0" smtClean="0"/>
              <a:t>）</a:t>
            </a:r>
            <a:endParaRPr kumimoji="1" lang="en-US" altLang="ja-JP" dirty="0" smtClean="0"/>
          </a:p>
          <a:p>
            <a:pPr lvl="2"/>
            <a:r>
              <a:rPr kumimoji="1" lang="ja-JP" altLang="en-US" dirty="0" smtClean="0"/>
              <a:t>箇条書きテキスト（レベル</a:t>
            </a:r>
            <a:r>
              <a:rPr kumimoji="1" lang="en-US" altLang="ja-JP" dirty="0" smtClean="0"/>
              <a:t>2</a:t>
            </a:r>
            <a:r>
              <a:rPr kumimoji="1" lang="ja-JP" altLang="en-US" dirty="0" smtClean="0"/>
              <a:t>）</a:t>
            </a:r>
            <a:endParaRPr kumimoji="1" lang="en-US" altLang="ja-JP" dirty="0" smtClean="0"/>
          </a:p>
          <a:p>
            <a:pPr lvl="3"/>
            <a:r>
              <a:rPr kumimoji="1" lang="ja-JP" altLang="en-US" dirty="0" smtClean="0"/>
              <a:t>箇条書きテキスト（レベル</a:t>
            </a:r>
            <a:r>
              <a:rPr kumimoji="1" lang="en-US" altLang="ja-JP" dirty="0" smtClean="0"/>
              <a:t>3</a:t>
            </a:r>
            <a:r>
              <a:rPr kumimoji="1" lang="ja-JP" altLang="en-US" dirty="0" smtClean="0"/>
              <a:t>）</a:t>
            </a:r>
          </a:p>
        </p:txBody>
      </p:sp>
      <p:sp>
        <p:nvSpPr>
          <p:cNvPr id="8" name="Header（基本版／左）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133579" y="1316567"/>
            <a:ext cx="4385469" cy="480484"/>
          </a:xfrm>
          <a:prstGeom prst="rect">
            <a:avLst/>
          </a:prstGeom>
        </p:spPr>
        <p:txBody>
          <a:bodyPr vert="horz" wrap="none" lIns="72000" tIns="0" rIns="0" bIns="0" rtlCol="0" anchor="ctr">
            <a:noAutofit/>
          </a:bodyPr>
          <a:lstStyle>
            <a:lvl1pPr marL="0" indent="0">
              <a:buNone/>
              <a:defRPr lang="ja-JP" altLang="en-US" sz="2167" b="1" baseline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kumimoji="1" lang="en-US" altLang="ja-JP" dirty="0"/>
              <a:t>Header</a:t>
            </a:r>
            <a:r>
              <a:rPr kumimoji="1" lang="ja-JP" altLang="en-US" dirty="0"/>
              <a:t>（スライドタイトル／</a:t>
            </a:r>
            <a:r>
              <a:rPr kumimoji="1" lang="en-US" altLang="ja-JP" dirty="0"/>
              <a:t>20pt</a:t>
            </a:r>
            <a:r>
              <a:rPr kumimoji="1" lang="ja-JP" altLang="en-US" dirty="0"/>
              <a:t> 太字）</a:t>
            </a:r>
          </a:p>
        </p:txBody>
      </p:sp>
    </p:spTree>
    <p:extLst>
      <p:ext uri="{BB962C8B-B14F-4D97-AF65-F5344CB8AC3E}">
        <p14:creationId xmlns:p14="http://schemas.microsoft.com/office/powerpoint/2010/main" val="104205825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基本版：LA_16_9_Onsc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タイトル"/>
          <p:cNvSpPr>
            <a:spLocks noGrp="1"/>
          </p:cNvSpPr>
          <p:nvPr>
            <p:ph type="title" hasCustomPrompt="1"/>
          </p:nvPr>
        </p:nvSpPr>
        <p:spPr bwMode="gray">
          <a:xfrm>
            <a:off x="388673" y="483237"/>
            <a:ext cx="9127842" cy="640715"/>
          </a:xfrm>
          <a:prstGeom prst="rect">
            <a:avLst/>
          </a:prstGeom>
        </p:spPr>
        <p:txBody>
          <a:bodyPr lIns="36000" tIns="36000" rIns="36000" bIns="36000" anchor="b"/>
          <a:lstStyle>
            <a:lvl1pPr>
              <a:lnSpc>
                <a:spcPct val="80000"/>
              </a:lnSpc>
              <a:defRPr sz="3033" baseline="0"/>
            </a:lvl1pPr>
          </a:lstStyle>
          <a:p>
            <a:r>
              <a:rPr lang="ja-JP" altLang="en-US" noProof="0" dirty="0" smtClean="0"/>
              <a:t>スライドタイトル（</a:t>
            </a:r>
            <a:r>
              <a:rPr lang="en-US" altLang="ja-JP" noProof="0" dirty="0" smtClean="0"/>
              <a:t>28pt</a:t>
            </a:r>
            <a:r>
              <a:rPr lang="ja-JP" altLang="en-US" noProof="0" dirty="0" smtClean="0"/>
              <a:t>／太字）</a:t>
            </a:r>
            <a:endParaRPr kumimoji="1" lang="ja-JP" altLang="en-US" dirty="0"/>
          </a:p>
        </p:txBody>
      </p:sp>
      <p:sp>
        <p:nvSpPr>
          <p:cNvPr id="3" name="テキスト プレースホルダー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27794" y="2615936"/>
            <a:ext cx="8049600" cy="2104497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325"/>
              </a:spcBef>
              <a:spcAft>
                <a:spcPts val="325"/>
              </a:spcAft>
              <a:buNone/>
              <a:defRPr sz="4767"/>
            </a:lvl1pPr>
          </a:lstStyle>
          <a:p>
            <a:pPr lvl="0"/>
            <a:r>
              <a:rPr kumimoji="1" lang="ja-JP" altLang="en-US" dirty="0"/>
              <a:t>テキストを</a:t>
            </a:r>
            <a:r>
              <a:rPr kumimoji="1" lang="ja-JP" altLang="en-US" dirty="0" smtClean="0"/>
              <a:t>入力</a:t>
            </a:r>
            <a:endParaRPr kumimoji="1" lang="ja-JP" altLang="en-US" dirty="0"/>
          </a:p>
        </p:txBody>
      </p:sp>
      <p:sp>
        <p:nvSpPr>
          <p:cNvPr id="4" name="Header（基本版／左）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8673" y="1316567"/>
            <a:ext cx="4564328" cy="480484"/>
          </a:xfrm>
          <a:prstGeom prst="rect">
            <a:avLst/>
          </a:prstGeom>
        </p:spPr>
        <p:txBody>
          <a:bodyPr vert="horz" wrap="none" lIns="72000" tIns="0" rIns="0" bIns="0" rtlCol="0" anchor="ctr">
            <a:noAutofit/>
          </a:bodyPr>
          <a:lstStyle>
            <a:lvl1pPr marL="0" indent="0">
              <a:buNone/>
              <a:defRPr lang="ja-JP" altLang="en-US" sz="2167" b="1" baseline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kumimoji="1" lang="en-US" altLang="ja-JP" dirty="0"/>
              <a:t>Header</a:t>
            </a:r>
            <a:r>
              <a:rPr kumimoji="1" lang="ja-JP" altLang="en-US" dirty="0"/>
              <a:t>（スライドタイトル／</a:t>
            </a:r>
            <a:r>
              <a:rPr kumimoji="1" lang="en-US" altLang="ja-JP" dirty="0"/>
              <a:t>20pt</a:t>
            </a:r>
            <a:r>
              <a:rPr kumimoji="1" lang="ja-JP" altLang="en-US" dirty="0"/>
              <a:t> 太字）</a:t>
            </a:r>
          </a:p>
        </p:txBody>
      </p:sp>
    </p:spTree>
    <p:extLst>
      <p:ext uri="{BB962C8B-B14F-4D97-AF65-F5344CB8AC3E}">
        <p14:creationId xmlns:p14="http://schemas.microsoft.com/office/powerpoint/2010/main" val="204963877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基本版：LA_16_9_Onsc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中表紙サブタイトル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1049101" y="2785883"/>
            <a:ext cx="4511650" cy="889879"/>
          </a:xfrm>
          <a:prstGeom prst="rect">
            <a:avLst/>
          </a:prstGeom>
          <a:noFill/>
        </p:spPr>
        <p:txBody>
          <a:bodyPr wrap="none" lIns="72000" tIns="0" r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033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サブタイトル</a:t>
            </a:r>
            <a:r>
              <a:rPr lang="en-US" altLang="ja-JP" dirty="0"/>
              <a:t>(</a:t>
            </a:r>
            <a:r>
              <a:rPr lang="ja-JP" altLang="en-US" dirty="0"/>
              <a:t>任意</a:t>
            </a:r>
            <a:r>
              <a:rPr lang="en-US" altLang="ja-JP" dirty="0"/>
              <a:t>)</a:t>
            </a:r>
            <a:endParaRPr lang="ja-JP" altLang="en-US" dirty="0"/>
          </a:p>
        </p:txBody>
      </p:sp>
      <p:sp>
        <p:nvSpPr>
          <p:cNvPr id="5" name="中表紙タイトル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1049101" y="1892830"/>
            <a:ext cx="4511651" cy="889879"/>
          </a:xfrm>
          <a:prstGeom prst="rect">
            <a:avLst/>
          </a:prstGeom>
          <a:noFill/>
        </p:spPr>
        <p:txBody>
          <a:bodyPr wrap="none" lIns="72000" tIns="0" r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033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（</a:t>
            </a:r>
            <a:r>
              <a:rPr lang="en-US" altLang="ja-JP" dirty="0"/>
              <a:t>28pt</a:t>
            </a:r>
            <a:r>
              <a:rPr lang="ja-JP" altLang="en-US" dirty="0"/>
              <a:t>／太字）</a:t>
            </a:r>
          </a:p>
        </p:txBody>
      </p:sp>
    </p:spTree>
    <p:extLst>
      <p:ext uri="{BB962C8B-B14F-4D97-AF65-F5344CB8AC3E}">
        <p14:creationId xmlns:p14="http://schemas.microsoft.com/office/powerpoint/2010/main" val="271948026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基本版：LA_16_9_Onscreen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中表紙サブタイトル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1049101" y="2785883"/>
            <a:ext cx="4511650" cy="8898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lIns="72000" tIns="0" r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033" b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サブタイトル</a:t>
            </a:r>
            <a:r>
              <a:rPr lang="en-US" altLang="ja-JP" dirty="0"/>
              <a:t>(</a:t>
            </a:r>
            <a:r>
              <a:rPr lang="ja-JP" altLang="en-US" dirty="0"/>
              <a:t>任意</a:t>
            </a:r>
            <a:r>
              <a:rPr lang="en-US" altLang="ja-JP" dirty="0"/>
              <a:t>)</a:t>
            </a:r>
            <a:endParaRPr lang="ja-JP" altLang="en-US" dirty="0"/>
          </a:p>
        </p:txBody>
      </p:sp>
      <p:sp>
        <p:nvSpPr>
          <p:cNvPr id="5" name="中表紙タイトル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1049101" y="1892830"/>
            <a:ext cx="4511651" cy="889879"/>
          </a:xfrm>
          <a:prstGeom prst="rect">
            <a:avLst/>
          </a:prstGeom>
          <a:noFill/>
        </p:spPr>
        <p:txBody>
          <a:bodyPr wrap="none" lIns="72000" tIns="0" r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033" b="1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（</a:t>
            </a:r>
            <a:r>
              <a:rPr lang="en-US" altLang="ja-JP" dirty="0"/>
              <a:t>28pt</a:t>
            </a:r>
            <a:r>
              <a:rPr lang="ja-JP" altLang="en-US" dirty="0"/>
              <a:t>／太字）</a:t>
            </a:r>
          </a:p>
        </p:txBody>
      </p:sp>
      <p:sp>
        <p:nvSpPr>
          <p:cNvPr id="6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bg1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bg1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bg1"/>
                </a:solidFill>
              </a:rPr>
              <a:t>＞</a:t>
            </a:r>
            <a:endParaRPr kumimoji="1" lang="ja-JP" altLang="en-US" sz="975" dirty="0">
              <a:solidFill>
                <a:schemeClr val="bg1"/>
              </a:solidFill>
            </a:endParaRPr>
          </a:p>
        </p:txBody>
      </p:sp>
      <p:sp>
        <p:nvSpPr>
          <p:cNvPr id="8" name="スライド番号"/>
          <p:cNvSpPr txBox="1"/>
          <p:nvPr/>
        </p:nvSpPr>
        <p:spPr>
          <a:xfrm>
            <a:off x="390393" y="6379638"/>
            <a:ext cx="195000" cy="21801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 algn="ctr" fontAlgn="auto">
              <a:spcBef>
                <a:spcPts val="0"/>
              </a:spcBef>
              <a:spcAft>
                <a:spcPts val="0"/>
              </a:spcAft>
              <a:defRPr kumimoji="1" sz="900">
                <a:latin typeface="+mn-lt"/>
                <a:cs typeface="Arial" pitchFamily="34" charset="0"/>
              </a:defRPr>
            </a:lvl1pPr>
          </a:lstStyle>
          <a:p>
            <a:pPr lvl="0"/>
            <a:fld id="{A1FF5B2A-0AE6-4A0A-B5B0-E2DE1FB61F84}" type="slidenum">
              <a:rPr lang="en-US" altLang="ja-JP" sz="975" smtClean="0">
                <a:solidFill>
                  <a:schemeClr val="bg1"/>
                </a:solidFill>
              </a:rPr>
              <a:pPr lvl="0"/>
              <a:t>‹#›</a:t>
            </a:fld>
            <a:endParaRPr lang="ja-JP" altLang="en-US" sz="975" dirty="0" smtClean="0">
              <a:solidFill>
                <a:schemeClr val="bg1"/>
              </a:solidFill>
            </a:endParaRPr>
          </a:p>
        </p:txBody>
      </p:sp>
      <p:sp>
        <p:nvSpPr>
          <p:cNvPr id="10" name="コピーライト"/>
          <p:cNvSpPr txBox="1">
            <a:spLocks noChangeArrowheads="1"/>
          </p:cNvSpPr>
          <p:nvPr/>
        </p:nvSpPr>
        <p:spPr bwMode="gray">
          <a:xfrm>
            <a:off x="5133004" y="6379640"/>
            <a:ext cx="4384327" cy="218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marL="0" marR="0" indent="0" algn="r" defTabSz="742864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67" kern="1200" dirty="0" smtClean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9. For information, contact Learning Agency Co., Ltd.</a:t>
            </a:r>
            <a:endParaRPr lang="en-US" altLang="ja-JP" sz="867" kern="1200" dirty="0">
              <a:solidFill>
                <a:schemeClr val="bg1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468235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基本版：LA_16_9_Onscreen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中表紙サブタイトル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1049101" y="2785883"/>
            <a:ext cx="4511650" cy="889879"/>
          </a:xfrm>
          <a:prstGeom prst="rect">
            <a:avLst/>
          </a:prstGeom>
          <a:noFill/>
        </p:spPr>
        <p:txBody>
          <a:bodyPr wrap="none" lIns="72000" tIns="0" r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033" b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サブタイトル</a:t>
            </a:r>
            <a:r>
              <a:rPr lang="en-US" altLang="ja-JP" dirty="0"/>
              <a:t>(</a:t>
            </a:r>
            <a:r>
              <a:rPr lang="ja-JP" altLang="en-US" dirty="0"/>
              <a:t>任意</a:t>
            </a:r>
            <a:r>
              <a:rPr lang="en-US" altLang="ja-JP" dirty="0"/>
              <a:t>)</a:t>
            </a:r>
            <a:endParaRPr lang="ja-JP" altLang="en-US" dirty="0"/>
          </a:p>
        </p:txBody>
      </p:sp>
      <p:sp>
        <p:nvSpPr>
          <p:cNvPr id="5" name="中表紙タイトル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1049101" y="1892830"/>
            <a:ext cx="4511651" cy="889879"/>
          </a:xfrm>
          <a:prstGeom prst="rect">
            <a:avLst/>
          </a:prstGeom>
          <a:noFill/>
        </p:spPr>
        <p:txBody>
          <a:bodyPr wrap="none" lIns="72000" tIns="0" r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033" b="1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（</a:t>
            </a:r>
            <a:r>
              <a:rPr lang="en-US" altLang="ja-JP" dirty="0"/>
              <a:t>28pt</a:t>
            </a:r>
            <a:r>
              <a:rPr lang="ja-JP" altLang="en-US" dirty="0"/>
              <a:t>／太字）</a:t>
            </a:r>
          </a:p>
        </p:txBody>
      </p:sp>
      <p:sp>
        <p:nvSpPr>
          <p:cNvPr id="6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bg1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bg1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bg1"/>
                </a:solidFill>
              </a:rPr>
              <a:t>＞</a:t>
            </a:r>
            <a:endParaRPr kumimoji="1" lang="ja-JP" altLang="en-US" sz="975" dirty="0">
              <a:solidFill>
                <a:schemeClr val="bg1"/>
              </a:solidFill>
            </a:endParaRPr>
          </a:p>
        </p:txBody>
      </p:sp>
      <p:sp>
        <p:nvSpPr>
          <p:cNvPr id="8" name="スライド番号"/>
          <p:cNvSpPr txBox="1"/>
          <p:nvPr/>
        </p:nvSpPr>
        <p:spPr>
          <a:xfrm>
            <a:off x="390393" y="6379638"/>
            <a:ext cx="195000" cy="21801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 algn="ctr" fontAlgn="auto">
              <a:spcBef>
                <a:spcPts val="0"/>
              </a:spcBef>
              <a:spcAft>
                <a:spcPts val="0"/>
              </a:spcAft>
              <a:defRPr kumimoji="1" sz="900">
                <a:latin typeface="+mn-lt"/>
                <a:cs typeface="Arial" pitchFamily="34" charset="0"/>
              </a:defRPr>
            </a:lvl1pPr>
          </a:lstStyle>
          <a:p>
            <a:pPr lvl="0"/>
            <a:fld id="{A1FF5B2A-0AE6-4A0A-B5B0-E2DE1FB61F84}" type="slidenum">
              <a:rPr lang="en-US" altLang="ja-JP" sz="975" smtClean="0">
                <a:solidFill>
                  <a:schemeClr val="bg1"/>
                </a:solidFill>
              </a:rPr>
              <a:pPr lvl="0"/>
              <a:t>‹#›</a:t>
            </a:fld>
            <a:endParaRPr lang="ja-JP" altLang="en-US" sz="975" dirty="0" smtClean="0">
              <a:solidFill>
                <a:schemeClr val="bg1"/>
              </a:solidFill>
            </a:endParaRPr>
          </a:p>
        </p:txBody>
      </p:sp>
      <p:sp>
        <p:nvSpPr>
          <p:cNvPr id="9" name="コピーライト"/>
          <p:cNvSpPr txBox="1">
            <a:spLocks noChangeArrowheads="1"/>
          </p:cNvSpPr>
          <p:nvPr/>
        </p:nvSpPr>
        <p:spPr bwMode="gray">
          <a:xfrm>
            <a:off x="5133004" y="6379640"/>
            <a:ext cx="4384327" cy="218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marL="0" marR="0" indent="0" algn="r" defTabSz="742864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67" kern="1200" dirty="0" smtClean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9. For information, contact Learning Agency Co., Ltd.</a:t>
            </a:r>
            <a:endParaRPr lang="en-US" altLang="ja-JP" sz="867" kern="1200" dirty="0">
              <a:solidFill>
                <a:schemeClr val="bg1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12108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基本版：LA_16_9_Onscreen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bg1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bg1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bg1"/>
                </a:solidFill>
              </a:rPr>
              <a:t>＞</a:t>
            </a:r>
            <a:endParaRPr kumimoji="1" lang="ja-JP" altLang="en-US" sz="975" dirty="0">
              <a:solidFill>
                <a:schemeClr val="bg1"/>
              </a:solidFill>
            </a:endParaRPr>
          </a:p>
        </p:txBody>
      </p:sp>
      <p:sp>
        <p:nvSpPr>
          <p:cNvPr id="4" name="スライド番号"/>
          <p:cNvSpPr txBox="1"/>
          <p:nvPr/>
        </p:nvSpPr>
        <p:spPr>
          <a:xfrm>
            <a:off x="390393" y="6379638"/>
            <a:ext cx="195000" cy="21801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 algn="ctr" fontAlgn="auto">
              <a:spcBef>
                <a:spcPts val="0"/>
              </a:spcBef>
              <a:spcAft>
                <a:spcPts val="0"/>
              </a:spcAft>
              <a:defRPr kumimoji="1" sz="900">
                <a:latin typeface="+mn-lt"/>
                <a:cs typeface="Arial" pitchFamily="34" charset="0"/>
              </a:defRPr>
            </a:lvl1pPr>
          </a:lstStyle>
          <a:p>
            <a:pPr lvl="0"/>
            <a:fld id="{A1FF5B2A-0AE6-4A0A-B5B0-E2DE1FB61F84}" type="slidenum">
              <a:rPr lang="en-US" altLang="ja-JP" sz="975" smtClean="0">
                <a:solidFill>
                  <a:schemeClr val="bg1"/>
                </a:solidFill>
              </a:rPr>
              <a:pPr lvl="0"/>
              <a:t>‹#›</a:t>
            </a:fld>
            <a:endParaRPr lang="ja-JP" altLang="en-US" sz="975" dirty="0" smtClean="0">
              <a:solidFill>
                <a:schemeClr val="bg1"/>
              </a:solidFill>
            </a:endParaRPr>
          </a:p>
        </p:txBody>
      </p:sp>
      <p:sp>
        <p:nvSpPr>
          <p:cNvPr id="5" name="コンテンツ プレースホルダー 20"/>
          <p:cNvSpPr txBox="1">
            <a:spLocks/>
          </p:cNvSpPr>
          <p:nvPr/>
        </p:nvSpPr>
        <p:spPr bwMode="gray">
          <a:xfrm>
            <a:off x="872723" y="1256032"/>
            <a:ext cx="8160555" cy="2104497"/>
          </a:xfrm>
          <a:prstGeom prst="rect">
            <a:avLst/>
          </a:prstGeom>
        </p:spPr>
        <p:txBody>
          <a:bodyPr lIns="390000" rIns="390000" anchor="ctr"/>
          <a:lstStyle>
            <a:lvl1pPr marL="0" marR="0" indent="0" algn="ctr" defTabSz="99056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4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marR="0" indent="-230400" algn="l" defTabSz="99056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0375" marR="0" indent="-193675" algn="l" defTabSz="99056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marR="0" indent="-241300" algn="l" defTabSz="990564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7179" indent="-191093" algn="l" defTabSz="865024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1192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ja-JP" altLang="en-US" sz="4767" dirty="0" smtClean="0">
                <a:solidFill>
                  <a:schemeClr val="bg1"/>
                </a:solidFill>
              </a:rPr>
              <a:t>次ページをめくらないようにお願いします</a:t>
            </a:r>
            <a:endParaRPr lang="ja-JP" altLang="en-US" sz="4767" dirty="0">
              <a:solidFill>
                <a:schemeClr val="bg1"/>
              </a:solidFill>
            </a:endParaRPr>
          </a:p>
        </p:txBody>
      </p:sp>
      <p:sp>
        <p:nvSpPr>
          <p:cNvPr id="10" name="コピーライト"/>
          <p:cNvSpPr txBox="1">
            <a:spLocks noChangeArrowheads="1"/>
          </p:cNvSpPr>
          <p:nvPr/>
        </p:nvSpPr>
        <p:spPr bwMode="gray">
          <a:xfrm>
            <a:off x="5133004" y="6379640"/>
            <a:ext cx="4384327" cy="218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marL="0" marR="0" indent="0" algn="r" defTabSz="742864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67" kern="1200" dirty="0" smtClean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9. For information, contact Learning Agency Co., Ltd.</a:t>
            </a:r>
            <a:endParaRPr lang="en-US" altLang="ja-JP" sz="867" kern="1200" dirty="0">
              <a:solidFill>
                <a:schemeClr val="bg1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16" name="Freeform 156"/>
          <p:cNvSpPr>
            <a:spLocks noEditPoints="1"/>
          </p:cNvSpPr>
          <p:nvPr/>
        </p:nvSpPr>
        <p:spPr bwMode="auto">
          <a:xfrm>
            <a:off x="4057627" y="3795380"/>
            <a:ext cx="1794691" cy="2203995"/>
          </a:xfrm>
          <a:custGeom>
            <a:avLst/>
            <a:gdLst>
              <a:gd name="T0" fmla="*/ 587 w 1174"/>
              <a:gd name="T1" fmla="*/ 1174 h 1174"/>
              <a:gd name="T2" fmla="*/ 0 w 1174"/>
              <a:gd name="T3" fmla="*/ 587 h 1174"/>
              <a:gd name="T4" fmla="*/ 587 w 1174"/>
              <a:gd name="T5" fmla="*/ 0 h 1174"/>
              <a:gd name="T6" fmla="*/ 1174 w 1174"/>
              <a:gd name="T7" fmla="*/ 587 h 1174"/>
              <a:gd name="T8" fmla="*/ 587 w 1174"/>
              <a:gd name="T9" fmla="*/ 1174 h 1174"/>
              <a:gd name="T10" fmla="*/ 587 w 1174"/>
              <a:gd name="T11" fmla="*/ 40 h 1174"/>
              <a:gd name="T12" fmla="*/ 40 w 1174"/>
              <a:gd name="T13" fmla="*/ 587 h 1174"/>
              <a:gd name="T14" fmla="*/ 587 w 1174"/>
              <a:gd name="T15" fmla="*/ 1134 h 1174"/>
              <a:gd name="T16" fmla="*/ 1134 w 1174"/>
              <a:gd name="T17" fmla="*/ 587 h 1174"/>
              <a:gd name="T18" fmla="*/ 587 w 1174"/>
              <a:gd name="T19" fmla="*/ 40 h 1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74" h="1174">
                <a:moveTo>
                  <a:pt x="587" y="1174"/>
                </a:moveTo>
                <a:cubicBezTo>
                  <a:pt x="263" y="1174"/>
                  <a:pt x="0" y="911"/>
                  <a:pt x="0" y="587"/>
                </a:cubicBezTo>
                <a:cubicBezTo>
                  <a:pt x="0" y="263"/>
                  <a:pt x="263" y="0"/>
                  <a:pt x="587" y="0"/>
                </a:cubicBezTo>
                <a:cubicBezTo>
                  <a:pt x="911" y="0"/>
                  <a:pt x="1174" y="263"/>
                  <a:pt x="1174" y="587"/>
                </a:cubicBezTo>
                <a:cubicBezTo>
                  <a:pt x="1174" y="911"/>
                  <a:pt x="911" y="1174"/>
                  <a:pt x="587" y="1174"/>
                </a:cubicBezTo>
                <a:close/>
                <a:moveTo>
                  <a:pt x="587" y="40"/>
                </a:moveTo>
                <a:cubicBezTo>
                  <a:pt x="286" y="40"/>
                  <a:pt x="40" y="286"/>
                  <a:pt x="40" y="587"/>
                </a:cubicBezTo>
                <a:cubicBezTo>
                  <a:pt x="40" y="889"/>
                  <a:pt x="286" y="1134"/>
                  <a:pt x="587" y="1134"/>
                </a:cubicBezTo>
                <a:cubicBezTo>
                  <a:pt x="889" y="1134"/>
                  <a:pt x="1134" y="889"/>
                  <a:pt x="1134" y="587"/>
                </a:cubicBezTo>
                <a:cubicBezTo>
                  <a:pt x="1134" y="286"/>
                  <a:pt x="889" y="40"/>
                  <a:pt x="587" y="4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ja-JP" altLang="en-US" sz="2058"/>
          </a:p>
        </p:txBody>
      </p:sp>
      <p:sp>
        <p:nvSpPr>
          <p:cNvPr id="17" name="Freeform 157"/>
          <p:cNvSpPr>
            <a:spLocks/>
          </p:cNvSpPr>
          <p:nvPr/>
        </p:nvSpPr>
        <p:spPr bwMode="auto">
          <a:xfrm>
            <a:off x="4834670" y="4198315"/>
            <a:ext cx="240608" cy="1082580"/>
          </a:xfrm>
          <a:custGeom>
            <a:avLst/>
            <a:gdLst>
              <a:gd name="T0" fmla="*/ 140 w 160"/>
              <a:gd name="T1" fmla="*/ 0 h 576"/>
              <a:gd name="T2" fmla="*/ 20 w 160"/>
              <a:gd name="T3" fmla="*/ 0 h 576"/>
              <a:gd name="T4" fmla="*/ 6 w 160"/>
              <a:gd name="T5" fmla="*/ 6 h 576"/>
              <a:gd name="T6" fmla="*/ 0 w 160"/>
              <a:gd name="T7" fmla="*/ 21 h 576"/>
              <a:gd name="T8" fmla="*/ 32 w 160"/>
              <a:gd name="T9" fmla="*/ 557 h 576"/>
              <a:gd name="T10" fmla="*/ 52 w 160"/>
              <a:gd name="T11" fmla="*/ 576 h 576"/>
              <a:gd name="T12" fmla="*/ 108 w 160"/>
              <a:gd name="T13" fmla="*/ 576 h 576"/>
              <a:gd name="T14" fmla="*/ 128 w 160"/>
              <a:gd name="T15" fmla="*/ 557 h 576"/>
              <a:gd name="T16" fmla="*/ 160 w 160"/>
              <a:gd name="T17" fmla="*/ 21 h 576"/>
              <a:gd name="T18" fmla="*/ 155 w 160"/>
              <a:gd name="T19" fmla="*/ 6 h 576"/>
              <a:gd name="T20" fmla="*/ 140 w 160"/>
              <a:gd name="T21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0" h="576">
                <a:moveTo>
                  <a:pt x="140" y="0"/>
                </a:moveTo>
                <a:cubicBezTo>
                  <a:pt x="20" y="0"/>
                  <a:pt x="20" y="0"/>
                  <a:pt x="20" y="0"/>
                </a:cubicBezTo>
                <a:cubicBezTo>
                  <a:pt x="15" y="0"/>
                  <a:pt x="9" y="2"/>
                  <a:pt x="6" y="6"/>
                </a:cubicBezTo>
                <a:cubicBezTo>
                  <a:pt x="2" y="10"/>
                  <a:pt x="0" y="16"/>
                  <a:pt x="0" y="21"/>
                </a:cubicBezTo>
                <a:cubicBezTo>
                  <a:pt x="32" y="557"/>
                  <a:pt x="32" y="557"/>
                  <a:pt x="32" y="557"/>
                </a:cubicBezTo>
                <a:cubicBezTo>
                  <a:pt x="33" y="568"/>
                  <a:pt x="42" y="576"/>
                  <a:pt x="52" y="576"/>
                </a:cubicBezTo>
                <a:cubicBezTo>
                  <a:pt x="108" y="576"/>
                  <a:pt x="108" y="576"/>
                  <a:pt x="108" y="576"/>
                </a:cubicBezTo>
                <a:cubicBezTo>
                  <a:pt x="119" y="576"/>
                  <a:pt x="127" y="568"/>
                  <a:pt x="128" y="557"/>
                </a:cubicBezTo>
                <a:cubicBezTo>
                  <a:pt x="160" y="21"/>
                  <a:pt x="160" y="21"/>
                  <a:pt x="160" y="21"/>
                </a:cubicBezTo>
                <a:cubicBezTo>
                  <a:pt x="160" y="16"/>
                  <a:pt x="158" y="10"/>
                  <a:pt x="155" y="6"/>
                </a:cubicBezTo>
                <a:cubicBezTo>
                  <a:pt x="151" y="2"/>
                  <a:pt x="146" y="0"/>
                  <a:pt x="14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ja-JP" altLang="en-US" sz="2058"/>
          </a:p>
        </p:txBody>
      </p:sp>
      <p:sp>
        <p:nvSpPr>
          <p:cNvPr id="18" name="Freeform 158"/>
          <p:cNvSpPr>
            <a:spLocks/>
          </p:cNvSpPr>
          <p:nvPr/>
        </p:nvSpPr>
        <p:spPr bwMode="auto">
          <a:xfrm>
            <a:off x="4882003" y="5407113"/>
            <a:ext cx="145943" cy="179623"/>
          </a:xfrm>
          <a:custGeom>
            <a:avLst/>
            <a:gdLst>
              <a:gd name="T0" fmla="*/ 76 w 96"/>
              <a:gd name="T1" fmla="*/ 0 h 96"/>
              <a:gd name="T2" fmla="*/ 20 w 96"/>
              <a:gd name="T3" fmla="*/ 0 h 96"/>
              <a:gd name="T4" fmla="*/ 0 w 96"/>
              <a:gd name="T5" fmla="*/ 20 h 96"/>
              <a:gd name="T6" fmla="*/ 0 w 96"/>
              <a:gd name="T7" fmla="*/ 76 h 96"/>
              <a:gd name="T8" fmla="*/ 20 w 96"/>
              <a:gd name="T9" fmla="*/ 96 h 96"/>
              <a:gd name="T10" fmla="*/ 76 w 96"/>
              <a:gd name="T11" fmla="*/ 96 h 96"/>
              <a:gd name="T12" fmla="*/ 96 w 96"/>
              <a:gd name="T13" fmla="*/ 76 h 96"/>
              <a:gd name="T14" fmla="*/ 96 w 96"/>
              <a:gd name="T15" fmla="*/ 20 h 96"/>
              <a:gd name="T16" fmla="*/ 76 w 96"/>
              <a:gd name="T17" fmla="*/ 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6" h="96">
                <a:moveTo>
                  <a:pt x="76" y="0"/>
                </a:moveTo>
                <a:cubicBezTo>
                  <a:pt x="20" y="0"/>
                  <a:pt x="20" y="0"/>
                  <a:pt x="20" y="0"/>
                </a:cubicBezTo>
                <a:cubicBezTo>
                  <a:pt x="9" y="0"/>
                  <a:pt x="0" y="9"/>
                  <a:pt x="0" y="20"/>
                </a:cubicBezTo>
                <a:cubicBezTo>
                  <a:pt x="0" y="76"/>
                  <a:pt x="0" y="76"/>
                  <a:pt x="0" y="76"/>
                </a:cubicBezTo>
                <a:cubicBezTo>
                  <a:pt x="0" y="87"/>
                  <a:pt x="9" y="96"/>
                  <a:pt x="20" y="96"/>
                </a:cubicBezTo>
                <a:cubicBezTo>
                  <a:pt x="76" y="96"/>
                  <a:pt x="76" y="96"/>
                  <a:pt x="76" y="96"/>
                </a:cubicBezTo>
                <a:cubicBezTo>
                  <a:pt x="87" y="96"/>
                  <a:pt x="96" y="87"/>
                  <a:pt x="96" y="76"/>
                </a:cubicBezTo>
                <a:cubicBezTo>
                  <a:pt x="96" y="20"/>
                  <a:pt x="96" y="20"/>
                  <a:pt x="96" y="20"/>
                </a:cubicBezTo>
                <a:cubicBezTo>
                  <a:pt x="96" y="9"/>
                  <a:pt x="87" y="0"/>
                  <a:pt x="7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ja-JP" altLang="en-US" sz="2058"/>
          </a:p>
        </p:txBody>
      </p:sp>
    </p:spTree>
    <p:extLst>
      <p:ext uri="{BB962C8B-B14F-4D97-AF65-F5344CB8AC3E}">
        <p14:creationId xmlns:p14="http://schemas.microsoft.com/office/powerpoint/2010/main" val="222011199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基本版：LA_16_9_Onscreen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bg1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bg1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bg1"/>
                </a:solidFill>
              </a:rPr>
              <a:t>＞</a:t>
            </a:r>
            <a:endParaRPr kumimoji="1" lang="ja-JP" altLang="en-US" sz="975" dirty="0">
              <a:solidFill>
                <a:schemeClr val="bg1"/>
              </a:solidFill>
            </a:endParaRPr>
          </a:p>
        </p:txBody>
      </p:sp>
      <p:sp>
        <p:nvSpPr>
          <p:cNvPr id="4" name="スライド番号"/>
          <p:cNvSpPr txBox="1"/>
          <p:nvPr/>
        </p:nvSpPr>
        <p:spPr>
          <a:xfrm>
            <a:off x="390393" y="6379638"/>
            <a:ext cx="195000" cy="21801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 algn="ctr" fontAlgn="auto">
              <a:spcBef>
                <a:spcPts val="0"/>
              </a:spcBef>
              <a:spcAft>
                <a:spcPts val="0"/>
              </a:spcAft>
              <a:defRPr kumimoji="1" sz="900">
                <a:latin typeface="+mn-lt"/>
                <a:cs typeface="Arial" pitchFamily="34" charset="0"/>
              </a:defRPr>
            </a:lvl1pPr>
          </a:lstStyle>
          <a:p>
            <a:pPr lvl="0"/>
            <a:fld id="{A1FF5B2A-0AE6-4A0A-B5B0-E2DE1FB61F84}" type="slidenum">
              <a:rPr lang="en-US" altLang="ja-JP" sz="975" smtClean="0">
                <a:solidFill>
                  <a:schemeClr val="bg1"/>
                </a:solidFill>
              </a:rPr>
              <a:pPr lvl="0"/>
              <a:t>‹#›</a:t>
            </a:fld>
            <a:endParaRPr lang="ja-JP" altLang="en-US" sz="975" dirty="0" smtClean="0">
              <a:solidFill>
                <a:schemeClr val="bg1"/>
              </a:solidFill>
            </a:endParaRPr>
          </a:p>
        </p:txBody>
      </p:sp>
      <p:sp>
        <p:nvSpPr>
          <p:cNvPr id="5" name="コンテンツ プレースホルダー 20"/>
          <p:cNvSpPr txBox="1">
            <a:spLocks/>
          </p:cNvSpPr>
          <p:nvPr/>
        </p:nvSpPr>
        <p:spPr bwMode="gray">
          <a:xfrm>
            <a:off x="872723" y="1256032"/>
            <a:ext cx="8160555" cy="2104497"/>
          </a:xfrm>
          <a:prstGeom prst="rect">
            <a:avLst/>
          </a:prstGeom>
        </p:spPr>
        <p:txBody>
          <a:bodyPr lIns="390000" rIns="390000" anchor="ctr"/>
          <a:lstStyle>
            <a:lvl1pPr marL="0" marR="0" indent="0" algn="ctr" defTabSz="99056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4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marR="0" indent="-230400" algn="l" defTabSz="99056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0375" marR="0" indent="-193675" algn="l" defTabSz="99056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marR="0" indent="-241300" algn="l" defTabSz="990564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7179" indent="-191093" algn="l" defTabSz="865024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1192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73078" rtl="0" eaLnBrk="1" fontAlgn="auto" latinLnBrk="0" hangingPunct="1">
              <a:lnSpc>
                <a:spcPct val="100000"/>
              </a:lnSpc>
              <a:spcBef>
                <a:spcPts val="325"/>
              </a:spcBef>
              <a:spcAft>
                <a:spcPts val="325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1" lang="en-US" altLang="ja-JP" sz="4767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ＭＳ Ｐゴシック"/>
              </a:rPr>
              <a:t>Masking</a:t>
            </a:r>
            <a:endParaRPr kumimoji="1" lang="ja-JP" altLang="en-US" sz="4767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ＭＳ Ｐゴシック"/>
            </a:endParaRPr>
          </a:p>
        </p:txBody>
      </p:sp>
      <p:sp>
        <p:nvSpPr>
          <p:cNvPr id="11" name="コピーライト"/>
          <p:cNvSpPr txBox="1">
            <a:spLocks noChangeArrowheads="1"/>
          </p:cNvSpPr>
          <p:nvPr/>
        </p:nvSpPr>
        <p:spPr bwMode="gray">
          <a:xfrm>
            <a:off x="5133004" y="6379640"/>
            <a:ext cx="4384327" cy="218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marL="0" marR="0" indent="0" algn="r" defTabSz="742864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67" kern="1200" dirty="0" smtClean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9. For information, contact Learning Agency Co., Ltd.</a:t>
            </a:r>
            <a:endParaRPr lang="en-US" altLang="ja-JP" sz="867" kern="1200" dirty="0">
              <a:solidFill>
                <a:schemeClr val="bg1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12" name="Freeform 156"/>
          <p:cNvSpPr>
            <a:spLocks noEditPoints="1"/>
          </p:cNvSpPr>
          <p:nvPr/>
        </p:nvSpPr>
        <p:spPr bwMode="auto">
          <a:xfrm>
            <a:off x="4057627" y="3795380"/>
            <a:ext cx="1794691" cy="2203995"/>
          </a:xfrm>
          <a:custGeom>
            <a:avLst/>
            <a:gdLst>
              <a:gd name="T0" fmla="*/ 587 w 1174"/>
              <a:gd name="T1" fmla="*/ 1174 h 1174"/>
              <a:gd name="T2" fmla="*/ 0 w 1174"/>
              <a:gd name="T3" fmla="*/ 587 h 1174"/>
              <a:gd name="T4" fmla="*/ 587 w 1174"/>
              <a:gd name="T5" fmla="*/ 0 h 1174"/>
              <a:gd name="T6" fmla="*/ 1174 w 1174"/>
              <a:gd name="T7" fmla="*/ 587 h 1174"/>
              <a:gd name="T8" fmla="*/ 587 w 1174"/>
              <a:gd name="T9" fmla="*/ 1174 h 1174"/>
              <a:gd name="T10" fmla="*/ 587 w 1174"/>
              <a:gd name="T11" fmla="*/ 40 h 1174"/>
              <a:gd name="T12" fmla="*/ 40 w 1174"/>
              <a:gd name="T13" fmla="*/ 587 h 1174"/>
              <a:gd name="T14" fmla="*/ 587 w 1174"/>
              <a:gd name="T15" fmla="*/ 1134 h 1174"/>
              <a:gd name="T16" fmla="*/ 1134 w 1174"/>
              <a:gd name="T17" fmla="*/ 587 h 1174"/>
              <a:gd name="T18" fmla="*/ 587 w 1174"/>
              <a:gd name="T19" fmla="*/ 40 h 1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74" h="1174">
                <a:moveTo>
                  <a:pt x="587" y="1174"/>
                </a:moveTo>
                <a:cubicBezTo>
                  <a:pt x="263" y="1174"/>
                  <a:pt x="0" y="911"/>
                  <a:pt x="0" y="587"/>
                </a:cubicBezTo>
                <a:cubicBezTo>
                  <a:pt x="0" y="263"/>
                  <a:pt x="263" y="0"/>
                  <a:pt x="587" y="0"/>
                </a:cubicBezTo>
                <a:cubicBezTo>
                  <a:pt x="911" y="0"/>
                  <a:pt x="1174" y="263"/>
                  <a:pt x="1174" y="587"/>
                </a:cubicBezTo>
                <a:cubicBezTo>
                  <a:pt x="1174" y="911"/>
                  <a:pt x="911" y="1174"/>
                  <a:pt x="587" y="1174"/>
                </a:cubicBezTo>
                <a:close/>
                <a:moveTo>
                  <a:pt x="587" y="40"/>
                </a:moveTo>
                <a:cubicBezTo>
                  <a:pt x="286" y="40"/>
                  <a:pt x="40" y="286"/>
                  <a:pt x="40" y="587"/>
                </a:cubicBezTo>
                <a:cubicBezTo>
                  <a:pt x="40" y="889"/>
                  <a:pt x="286" y="1134"/>
                  <a:pt x="587" y="1134"/>
                </a:cubicBezTo>
                <a:cubicBezTo>
                  <a:pt x="889" y="1134"/>
                  <a:pt x="1134" y="889"/>
                  <a:pt x="1134" y="587"/>
                </a:cubicBezTo>
                <a:cubicBezTo>
                  <a:pt x="1134" y="286"/>
                  <a:pt x="889" y="40"/>
                  <a:pt x="587" y="4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ja-JP" altLang="en-US" sz="2058"/>
          </a:p>
        </p:txBody>
      </p:sp>
      <p:sp>
        <p:nvSpPr>
          <p:cNvPr id="13" name="Freeform 157"/>
          <p:cNvSpPr>
            <a:spLocks/>
          </p:cNvSpPr>
          <p:nvPr/>
        </p:nvSpPr>
        <p:spPr bwMode="auto">
          <a:xfrm>
            <a:off x="4834670" y="4198315"/>
            <a:ext cx="240608" cy="1082580"/>
          </a:xfrm>
          <a:custGeom>
            <a:avLst/>
            <a:gdLst>
              <a:gd name="T0" fmla="*/ 140 w 160"/>
              <a:gd name="T1" fmla="*/ 0 h 576"/>
              <a:gd name="T2" fmla="*/ 20 w 160"/>
              <a:gd name="T3" fmla="*/ 0 h 576"/>
              <a:gd name="T4" fmla="*/ 6 w 160"/>
              <a:gd name="T5" fmla="*/ 6 h 576"/>
              <a:gd name="T6" fmla="*/ 0 w 160"/>
              <a:gd name="T7" fmla="*/ 21 h 576"/>
              <a:gd name="T8" fmla="*/ 32 w 160"/>
              <a:gd name="T9" fmla="*/ 557 h 576"/>
              <a:gd name="T10" fmla="*/ 52 w 160"/>
              <a:gd name="T11" fmla="*/ 576 h 576"/>
              <a:gd name="T12" fmla="*/ 108 w 160"/>
              <a:gd name="T13" fmla="*/ 576 h 576"/>
              <a:gd name="T14" fmla="*/ 128 w 160"/>
              <a:gd name="T15" fmla="*/ 557 h 576"/>
              <a:gd name="T16" fmla="*/ 160 w 160"/>
              <a:gd name="T17" fmla="*/ 21 h 576"/>
              <a:gd name="T18" fmla="*/ 155 w 160"/>
              <a:gd name="T19" fmla="*/ 6 h 576"/>
              <a:gd name="T20" fmla="*/ 140 w 160"/>
              <a:gd name="T21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0" h="576">
                <a:moveTo>
                  <a:pt x="140" y="0"/>
                </a:moveTo>
                <a:cubicBezTo>
                  <a:pt x="20" y="0"/>
                  <a:pt x="20" y="0"/>
                  <a:pt x="20" y="0"/>
                </a:cubicBezTo>
                <a:cubicBezTo>
                  <a:pt x="15" y="0"/>
                  <a:pt x="9" y="2"/>
                  <a:pt x="6" y="6"/>
                </a:cubicBezTo>
                <a:cubicBezTo>
                  <a:pt x="2" y="10"/>
                  <a:pt x="0" y="16"/>
                  <a:pt x="0" y="21"/>
                </a:cubicBezTo>
                <a:cubicBezTo>
                  <a:pt x="32" y="557"/>
                  <a:pt x="32" y="557"/>
                  <a:pt x="32" y="557"/>
                </a:cubicBezTo>
                <a:cubicBezTo>
                  <a:pt x="33" y="568"/>
                  <a:pt x="42" y="576"/>
                  <a:pt x="52" y="576"/>
                </a:cubicBezTo>
                <a:cubicBezTo>
                  <a:pt x="108" y="576"/>
                  <a:pt x="108" y="576"/>
                  <a:pt x="108" y="576"/>
                </a:cubicBezTo>
                <a:cubicBezTo>
                  <a:pt x="119" y="576"/>
                  <a:pt x="127" y="568"/>
                  <a:pt x="128" y="557"/>
                </a:cubicBezTo>
                <a:cubicBezTo>
                  <a:pt x="160" y="21"/>
                  <a:pt x="160" y="21"/>
                  <a:pt x="160" y="21"/>
                </a:cubicBezTo>
                <a:cubicBezTo>
                  <a:pt x="160" y="16"/>
                  <a:pt x="158" y="10"/>
                  <a:pt x="155" y="6"/>
                </a:cubicBezTo>
                <a:cubicBezTo>
                  <a:pt x="151" y="2"/>
                  <a:pt x="146" y="0"/>
                  <a:pt x="14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ja-JP" altLang="en-US" sz="2058"/>
          </a:p>
        </p:txBody>
      </p:sp>
      <p:sp>
        <p:nvSpPr>
          <p:cNvPr id="14" name="Freeform 158"/>
          <p:cNvSpPr>
            <a:spLocks/>
          </p:cNvSpPr>
          <p:nvPr/>
        </p:nvSpPr>
        <p:spPr bwMode="auto">
          <a:xfrm>
            <a:off x="4882003" y="5407113"/>
            <a:ext cx="145943" cy="179623"/>
          </a:xfrm>
          <a:custGeom>
            <a:avLst/>
            <a:gdLst>
              <a:gd name="T0" fmla="*/ 76 w 96"/>
              <a:gd name="T1" fmla="*/ 0 h 96"/>
              <a:gd name="T2" fmla="*/ 20 w 96"/>
              <a:gd name="T3" fmla="*/ 0 h 96"/>
              <a:gd name="T4" fmla="*/ 0 w 96"/>
              <a:gd name="T5" fmla="*/ 20 h 96"/>
              <a:gd name="T6" fmla="*/ 0 w 96"/>
              <a:gd name="T7" fmla="*/ 76 h 96"/>
              <a:gd name="T8" fmla="*/ 20 w 96"/>
              <a:gd name="T9" fmla="*/ 96 h 96"/>
              <a:gd name="T10" fmla="*/ 76 w 96"/>
              <a:gd name="T11" fmla="*/ 96 h 96"/>
              <a:gd name="T12" fmla="*/ 96 w 96"/>
              <a:gd name="T13" fmla="*/ 76 h 96"/>
              <a:gd name="T14" fmla="*/ 96 w 96"/>
              <a:gd name="T15" fmla="*/ 20 h 96"/>
              <a:gd name="T16" fmla="*/ 76 w 96"/>
              <a:gd name="T17" fmla="*/ 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6" h="96">
                <a:moveTo>
                  <a:pt x="76" y="0"/>
                </a:moveTo>
                <a:cubicBezTo>
                  <a:pt x="20" y="0"/>
                  <a:pt x="20" y="0"/>
                  <a:pt x="20" y="0"/>
                </a:cubicBezTo>
                <a:cubicBezTo>
                  <a:pt x="9" y="0"/>
                  <a:pt x="0" y="9"/>
                  <a:pt x="0" y="20"/>
                </a:cubicBezTo>
                <a:cubicBezTo>
                  <a:pt x="0" y="76"/>
                  <a:pt x="0" y="76"/>
                  <a:pt x="0" y="76"/>
                </a:cubicBezTo>
                <a:cubicBezTo>
                  <a:pt x="0" y="87"/>
                  <a:pt x="9" y="96"/>
                  <a:pt x="20" y="96"/>
                </a:cubicBezTo>
                <a:cubicBezTo>
                  <a:pt x="76" y="96"/>
                  <a:pt x="76" y="96"/>
                  <a:pt x="76" y="96"/>
                </a:cubicBezTo>
                <a:cubicBezTo>
                  <a:pt x="87" y="96"/>
                  <a:pt x="96" y="87"/>
                  <a:pt x="96" y="76"/>
                </a:cubicBezTo>
                <a:cubicBezTo>
                  <a:pt x="96" y="20"/>
                  <a:pt x="96" y="20"/>
                  <a:pt x="96" y="20"/>
                </a:cubicBezTo>
                <a:cubicBezTo>
                  <a:pt x="96" y="9"/>
                  <a:pt x="87" y="0"/>
                  <a:pt x="7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ja-JP" altLang="en-US" sz="2058"/>
          </a:p>
        </p:txBody>
      </p:sp>
    </p:spTree>
    <p:extLst>
      <p:ext uri="{BB962C8B-B14F-4D97-AF65-F5344CB8AC3E}">
        <p14:creationId xmlns:p14="http://schemas.microsoft.com/office/powerpoint/2010/main" val="113731957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白紙：LA_16_9_Onsc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939749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外部向け免責事項：LA_16_9_On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076932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基本版)コンテンツ左右20160408_クライアント資料用／配布資料テンプレート／ヨ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9" name="コンテンツ プレースホルダー 8"/>
          <p:cNvSpPr>
            <a:spLocks noGrp="1"/>
          </p:cNvSpPr>
          <p:nvPr>
            <p:ph sz="quarter" idx="16"/>
          </p:nvPr>
        </p:nvSpPr>
        <p:spPr>
          <a:xfrm>
            <a:off x="417512" y="1556792"/>
            <a:ext cx="9071487" cy="4752528"/>
          </a:xfrm>
          <a:prstGeom prst="rect">
            <a:avLst/>
          </a:prstGeom>
        </p:spPr>
        <p:txBody>
          <a:bodyPr>
            <a:normAutofit/>
          </a:bodyPr>
          <a:lstStyle>
            <a:lvl2pPr marL="0" indent="0">
              <a:buNone/>
              <a:defRPr sz="1600"/>
            </a:lvl2pPr>
            <a:lvl3pPr>
              <a:defRPr sz="1800"/>
            </a:lvl3pPr>
            <a:lvl4pPr>
              <a:defRPr sz="1800"/>
            </a:lvl4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</p:txBody>
      </p:sp>
      <p:graphicFrame>
        <p:nvGraphicFramePr>
          <p:cNvPr id="5" name="オブジェクト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6679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1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417000" y="136802"/>
            <a:ext cx="9072000" cy="65160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ja-JP" altLang="en-US" dirty="0" smtClean="0"/>
              <a:t>項番・項目</a:t>
            </a:r>
            <a:r>
              <a:rPr lang="en-US" altLang="ja-JP" dirty="0" smtClean="0"/>
              <a:t>(</a:t>
            </a:r>
            <a:r>
              <a:rPr lang="ja-JP" altLang="en-US" dirty="0" smtClean="0"/>
              <a:t>文字数はスライド横幅の中心まで</a:t>
            </a:r>
            <a:r>
              <a:rPr lang="en-US" altLang="ja-JP" dirty="0" smtClean="0"/>
              <a:t>)</a:t>
            </a:r>
            <a:br>
              <a:rPr lang="en-US" altLang="ja-JP" dirty="0" smtClean="0"/>
            </a:br>
            <a:r>
              <a:rPr kumimoji="1" lang="ja-JP" altLang="en-US" dirty="0" smtClean="0"/>
              <a:t>キーメッセージ</a:t>
            </a:r>
            <a:r>
              <a:rPr kumimoji="1" lang="en-US" altLang="ja-JP" dirty="0" smtClean="0"/>
              <a:t>:</a:t>
            </a:r>
            <a:r>
              <a:rPr kumimoji="1" lang="ja-JP" altLang="en-US" dirty="0" smtClean="0"/>
              <a:t>（スライドで一番伝えたいこと</a:t>
            </a:r>
            <a:r>
              <a:rPr kumimoji="1" lang="en-US" altLang="ja-JP" dirty="0" smtClean="0"/>
              <a:t>1</a:t>
            </a:r>
            <a:r>
              <a:rPr kumimoji="1" lang="ja-JP" altLang="en-US" dirty="0" smtClean="0"/>
              <a:t>行</a:t>
            </a:r>
            <a:r>
              <a:rPr kumimoji="1" lang="en-US" altLang="ja-JP" dirty="0" smtClean="0"/>
              <a:t>*</a:t>
            </a:r>
            <a:r>
              <a:rPr kumimoji="1" lang="ja-JP" altLang="en-US" dirty="0" smtClean="0"/>
              <a:t>名詞・体言止め不可）</a:t>
            </a:r>
            <a:endParaRPr kumimoji="1"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>
          <a:xfrm>
            <a:off x="410400" y="6588002"/>
            <a:ext cx="180000" cy="16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0CF35F9-5879-42A9-8B76-81836FFCFE6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テキスト プレースホルダー 6"/>
          <p:cNvSpPr>
            <a:spLocks noGrp="1"/>
          </p:cNvSpPr>
          <p:nvPr>
            <p:ph type="body" sz="quarter" idx="14" hasCustomPrompt="1"/>
          </p:nvPr>
        </p:nvSpPr>
        <p:spPr>
          <a:xfrm>
            <a:off x="417512" y="1016000"/>
            <a:ext cx="4319464" cy="432000"/>
          </a:xfrm>
          <a:prstGeom prst="rect">
            <a:avLst/>
          </a:prstGeom>
        </p:spPr>
        <p:txBody>
          <a:bodyPr wrap="none" anchor="ctr">
            <a:normAutofit/>
          </a:bodyPr>
          <a:lstStyle>
            <a:lvl1pPr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： </a:t>
            </a:r>
            <a:r>
              <a:rPr kumimoji="1" lang="en-US" altLang="ja-JP" dirty="0" smtClean="0"/>
              <a:t>20pt</a:t>
            </a:r>
            <a:r>
              <a:rPr kumimoji="1" lang="ja-JP" altLang="en-US" dirty="0" err="1" smtClean="0"/>
              <a:t>、</a:t>
            </a:r>
            <a:r>
              <a:rPr kumimoji="1" lang="en-US" altLang="ja-JP" dirty="0" smtClean="0"/>
              <a:t>1</a:t>
            </a:r>
            <a:r>
              <a:rPr kumimoji="1" lang="ja-JP" altLang="en-US" dirty="0" smtClean="0"/>
              <a:t>行</a:t>
            </a:r>
            <a:endParaRPr kumimoji="1" lang="ja-JP" altLang="en-US" dirty="0"/>
          </a:p>
        </p:txBody>
      </p:sp>
      <p:sp>
        <p:nvSpPr>
          <p:cNvPr id="9" name="テキスト プレースホルダー 8"/>
          <p:cNvSpPr>
            <a:spLocks noGrp="1"/>
          </p:cNvSpPr>
          <p:nvPr>
            <p:ph type="body" sz="quarter" idx="15" hasCustomPrompt="1"/>
          </p:nvPr>
        </p:nvSpPr>
        <p:spPr>
          <a:xfrm>
            <a:off x="5025008" y="1016000"/>
            <a:ext cx="4320480" cy="43200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： </a:t>
            </a:r>
            <a:r>
              <a:rPr kumimoji="1" lang="en-US" altLang="ja-JP" dirty="0" smtClean="0"/>
              <a:t>20pt</a:t>
            </a:r>
            <a:r>
              <a:rPr kumimoji="1" lang="ja-JP" altLang="en-US" dirty="0" err="1" smtClean="0"/>
              <a:t>、</a:t>
            </a:r>
            <a:r>
              <a:rPr kumimoji="1" lang="en-US" altLang="ja-JP" dirty="0" smtClean="0"/>
              <a:t>1</a:t>
            </a:r>
            <a:r>
              <a:rPr kumimoji="1" lang="ja-JP" altLang="en-US" dirty="0" smtClean="0"/>
              <a:t>行</a:t>
            </a:r>
            <a:endParaRPr kumimoji="1" lang="ja-JP" altLang="en-US" dirty="0"/>
          </a:p>
        </p:txBody>
      </p:sp>
      <p:sp>
        <p:nvSpPr>
          <p:cNvPr id="107" name="Text Box 7"/>
          <p:cNvSpPr txBox="1">
            <a:spLocks noChangeArrowheads="1"/>
          </p:cNvSpPr>
          <p:nvPr userDrawn="1"/>
        </p:nvSpPr>
        <p:spPr bwMode="gray">
          <a:xfrm>
            <a:off x="5702400" y="6588002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marL="0" marR="0" indent="0" algn="r" defTabSz="914349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900" kern="1200" dirty="0" smtClean="0">
                <a:solidFill>
                  <a:schemeClr val="tx2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6. For information, contact Tohmatsu Innovation Co., Ltd.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0786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表紙：LA_16_9_Onscreen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sp>
        <p:nvSpPr>
          <p:cNvPr id="39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sp>
        <p:nvSpPr>
          <p:cNvPr id="40" name="バージョン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49277" y="6222469"/>
            <a:ext cx="2022302" cy="206096"/>
          </a:xfrm>
          <a:prstGeom prst="rect">
            <a:avLst/>
          </a:prstGeom>
        </p:spPr>
        <p:txBody>
          <a:bodyPr wrap="square" lIns="36000" tIns="36000" rIns="36000" bIns="3600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67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 err="1" smtClean="0"/>
              <a:t>Ver.XXX</a:t>
            </a:r>
            <a:endParaRPr lang="ja-JP" altLang="en-US" dirty="0"/>
          </a:p>
        </p:txBody>
      </p:sp>
      <p:pic>
        <p:nvPicPr>
          <p:cNvPr id="41" name="図 4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9277" y="5527551"/>
            <a:ext cx="2022302" cy="516581"/>
          </a:xfrm>
          <a:prstGeom prst="rect">
            <a:avLst/>
          </a:prstGeom>
        </p:spPr>
      </p:pic>
      <p:sp>
        <p:nvSpPr>
          <p:cNvPr id="42" name="表紙サブタイトル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4420" y="3898245"/>
            <a:ext cx="4596587" cy="28803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33">
                <a:solidFill>
                  <a:schemeClr val="tx1"/>
                </a:solidFill>
              </a:defRPr>
            </a:lvl1pPr>
            <a:lvl2pPr marL="402393" indent="0" algn="ctr">
              <a:buNone/>
              <a:defRPr sz="1760"/>
            </a:lvl2pPr>
            <a:lvl3pPr marL="804784" indent="0" algn="ctr">
              <a:buNone/>
              <a:defRPr sz="1585"/>
            </a:lvl3pPr>
            <a:lvl4pPr marL="1207176" indent="0" algn="ctr">
              <a:buNone/>
              <a:defRPr sz="1408"/>
            </a:lvl4pPr>
            <a:lvl5pPr marL="1609567" indent="0" algn="ctr">
              <a:buNone/>
              <a:defRPr sz="1408"/>
            </a:lvl5pPr>
            <a:lvl6pPr marL="2011960" indent="0" algn="ctr">
              <a:buNone/>
              <a:defRPr sz="1408"/>
            </a:lvl6pPr>
            <a:lvl7pPr marL="2414352" indent="0" algn="ctr">
              <a:buNone/>
              <a:defRPr sz="1408"/>
            </a:lvl7pPr>
            <a:lvl8pPr marL="2816744" indent="0" algn="ctr">
              <a:buNone/>
              <a:defRPr sz="1408"/>
            </a:lvl8pPr>
            <a:lvl9pPr marL="3219133" indent="0" algn="ctr">
              <a:buNone/>
              <a:defRPr sz="1408"/>
            </a:lvl9pPr>
          </a:lstStyle>
          <a:p>
            <a:r>
              <a:rPr lang="ja-JP" altLang="en-US" noProof="0" dirty="0"/>
              <a:t>表紙</a:t>
            </a:r>
            <a:r>
              <a:rPr lang="ja-JP" altLang="en-US" noProof="0" dirty="0" smtClean="0"/>
              <a:t>サブタイトル（任意）／</a:t>
            </a:r>
            <a:r>
              <a:rPr lang="en-US" altLang="ja-JP" noProof="0" dirty="0" smtClean="0"/>
              <a:t>16pt</a:t>
            </a:r>
          </a:p>
        </p:txBody>
      </p:sp>
      <p:sp>
        <p:nvSpPr>
          <p:cNvPr id="43" name="表紙タイトル"/>
          <p:cNvSpPr>
            <a:spLocks noGrp="1"/>
          </p:cNvSpPr>
          <p:nvPr>
            <p:ph type="ctrTitle" hasCustomPrompt="1"/>
          </p:nvPr>
        </p:nvSpPr>
        <p:spPr bwMode="gray">
          <a:xfrm>
            <a:off x="434422" y="4234245"/>
            <a:ext cx="8028968" cy="1114968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17" b="1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 smtClean="0"/>
              <a:t>表紙タイトル／</a:t>
            </a:r>
            <a:r>
              <a:rPr lang="en-US" altLang="ja-JP" noProof="0" dirty="0" smtClean="0"/>
              <a:t>26pt </a:t>
            </a:r>
            <a:r>
              <a:rPr lang="ja-JP" altLang="en-US" noProof="0" dirty="0" smtClean="0"/>
              <a:t>太字</a:t>
            </a:r>
            <a:r>
              <a:rPr lang="en-US" altLang="ja-JP" noProof="0" dirty="0" smtClean="0"/>
              <a:t/>
            </a:r>
            <a:br>
              <a:rPr lang="en-US" altLang="ja-JP" noProof="0" dirty="0" smtClean="0"/>
            </a:br>
            <a:r>
              <a:rPr lang="ja-JP" altLang="en-US" noProof="0" dirty="0" smtClean="0"/>
              <a:t>表紙タイトル／</a:t>
            </a:r>
            <a:r>
              <a:rPr lang="en-US" altLang="ja-JP" noProof="0" dirty="0" smtClean="0"/>
              <a:t>26pt </a:t>
            </a:r>
            <a:r>
              <a:rPr lang="ja-JP" altLang="en-US" noProof="0" dirty="0" smtClean="0"/>
              <a:t>太字</a:t>
            </a:r>
            <a:endParaRPr lang="en-US" noProof="0" dirty="0"/>
          </a:p>
        </p:txBody>
      </p:sp>
      <p:pic>
        <p:nvPicPr>
          <p:cNvPr id="44" name="図 4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326" y="555824"/>
            <a:ext cx="9034272" cy="3096768"/>
          </a:xfrm>
          <a:prstGeom prst="rect">
            <a:avLst/>
          </a:prstGeom>
        </p:spPr>
      </p:pic>
      <p:grpSp>
        <p:nvGrpSpPr>
          <p:cNvPr id="45" name="グループ化 44"/>
          <p:cNvGrpSpPr/>
          <p:nvPr/>
        </p:nvGrpSpPr>
        <p:grpSpPr>
          <a:xfrm>
            <a:off x="1599406" y="2779185"/>
            <a:ext cx="1714631" cy="179321"/>
            <a:chOff x="1477083" y="2253006"/>
            <a:chExt cx="1582736" cy="134491"/>
          </a:xfrm>
        </p:grpSpPr>
        <p:sp>
          <p:nvSpPr>
            <p:cNvPr id="46" name="Freeform 5"/>
            <p:cNvSpPr>
              <a:spLocks noEditPoints="1"/>
            </p:cNvSpPr>
            <p:nvPr/>
          </p:nvSpPr>
          <p:spPr bwMode="auto">
            <a:xfrm>
              <a:off x="1477083" y="2281674"/>
              <a:ext cx="58043" cy="105823"/>
            </a:xfrm>
            <a:custGeom>
              <a:avLst/>
              <a:gdLst>
                <a:gd name="T0" fmla="*/ 55 w 69"/>
                <a:gd name="T1" fmla="*/ 5 h 124"/>
                <a:gd name="T2" fmla="*/ 40 w 69"/>
                <a:gd name="T3" fmla="*/ 0 h 124"/>
                <a:gd name="T4" fmla="*/ 26 w 69"/>
                <a:gd name="T5" fmla="*/ 5 h 124"/>
                <a:gd name="T6" fmla="*/ 17 w 69"/>
                <a:gd name="T7" fmla="*/ 14 h 124"/>
                <a:gd name="T8" fmla="*/ 17 w 69"/>
                <a:gd name="T9" fmla="*/ 2 h 124"/>
                <a:gd name="T10" fmla="*/ 0 w 69"/>
                <a:gd name="T11" fmla="*/ 2 h 124"/>
                <a:gd name="T12" fmla="*/ 0 w 69"/>
                <a:gd name="T13" fmla="*/ 124 h 124"/>
                <a:gd name="T14" fmla="*/ 17 w 69"/>
                <a:gd name="T15" fmla="*/ 124 h 124"/>
                <a:gd name="T16" fmla="*/ 17 w 69"/>
                <a:gd name="T17" fmla="*/ 77 h 124"/>
                <a:gd name="T18" fmla="*/ 25 w 69"/>
                <a:gd name="T19" fmla="*/ 86 h 124"/>
                <a:gd name="T20" fmla="*/ 39 w 69"/>
                <a:gd name="T21" fmla="*/ 90 h 124"/>
                <a:gd name="T22" fmla="*/ 55 w 69"/>
                <a:gd name="T23" fmla="*/ 86 h 124"/>
                <a:gd name="T24" fmla="*/ 65 w 69"/>
                <a:gd name="T25" fmla="*/ 74 h 124"/>
                <a:gd name="T26" fmla="*/ 69 w 69"/>
                <a:gd name="T27" fmla="*/ 55 h 124"/>
                <a:gd name="T28" fmla="*/ 69 w 69"/>
                <a:gd name="T29" fmla="*/ 36 h 124"/>
                <a:gd name="T30" fmla="*/ 66 w 69"/>
                <a:gd name="T31" fmla="*/ 17 h 124"/>
                <a:gd name="T32" fmla="*/ 55 w 69"/>
                <a:gd name="T33" fmla="*/ 5 h 124"/>
                <a:gd name="T34" fmla="*/ 52 w 69"/>
                <a:gd name="T35" fmla="*/ 55 h 124"/>
                <a:gd name="T36" fmla="*/ 47 w 69"/>
                <a:gd name="T37" fmla="*/ 69 h 124"/>
                <a:gd name="T38" fmla="*/ 34 w 69"/>
                <a:gd name="T39" fmla="*/ 74 h 124"/>
                <a:gd name="T40" fmla="*/ 25 w 69"/>
                <a:gd name="T41" fmla="*/ 72 h 124"/>
                <a:gd name="T42" fmla="*/ 19 w 69"/>
                <a:gd name="T43" fmla="*/ 66 h 124"/>
                <a:gd name="T44" fmla="*/ 17 w 69"/>
                <a:gd name="T45" fmla="*/ 57 h 124"/>
                <a:gd name="T46" fmla="*/ 17 w 69"/>
                <a:gd name="T47" fmla="*/ 33 h 124"/>
                <a:gd name="T48" fmla="*/ 19 w 69"/>
                <a:gd name="T49" fmla="*/ 24 h 124"/>
                <a:gd name="T50" fmla="*/ 25 w 69"/>
                <a:gd name="T51" fmla="*/ 18 h 124"/>
                <a:gd name="T52" fmla="*/ 34 w 69"/>
                <a:gd name="T53" fmla="*/ 16 h 124"/>
                <a:gd name="T54" fmla="*/ 47 w 69"/>
                <a:gd name="T55" fmla="*/ 21 h 124"/>
                <a:gd name="T56" fmla="*/ 52 w 69"/>
                <a:gd name="T57" fmla="*/ 36 h 124"/>
                <a:gd name="T58" fmla="*/ 52 w 69"/>
                <a:gd name="T59" fmla="*/ 5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9" h="124">
                  <a:moveTo>
                    <a:pt x="55" y="5"/>
                  </a:moveTo>
                  <a:cubicBezTo>
                    <a:pt x="51" y="2"/>
                    <a:pt x="46" y="0"/>
                    <a:pt x="40" y="0"/>
                  </a:cubicBezTo>
                  <a:cubicBezTo>
                    <a:pt x="34" y="0"/>
                    <a:pt x="30" y="2"/>
                    <a:pt x="26" y="5"/>
                  </a:cubicBezTo>
                  <a:cubicBezTo>
                    <a:pt x="22" y="7"/>
                    <a:pt x="19" y="10"/>
                    <a:pt x="17" y="14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17" y="124"/>
                    <a:pt x="17" y="124"/>
                    <a:pt x="17" y="124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9" y="81"/>
                    <a:pt x="21" y="84"/>
                    <a:pt x="25" y="86"/>
                  </a:cubicBezTo>
                  <a:cubicBezTo>
                    <a:pt x="29" y="89"/>
                    <a:pt x="33" y="90"/>
                    <a:pt x="39" y="90"/>
                  </a:cubicBezTo>
                  <a:cubicBezTo>
                    <a:pt x="45" y="90"/>
                    <a:pt x="51" y="89"/>
                    <a:pt x="55" y="86"/>
                  </a:cubicBezTo>
                  <a:cubicBezTo>
                    <a:pt x="60" y="83"/>
                    <a:pt x="63" y="79"/>
                    <a:pt x="65" y="74"/>
                  </a:cubicBezTo>
                  <a:cubicBezTo>
                    <a:pt x="68" y="68"/>
                    <a:pt x="69" y="62"/>
                    <a:pt x="69" y="55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69" y="28"/>
                    <a:pt x="68" y="22"/>
                    <a:pt x="66" y="17"/>
                  </a:cubicBezTo>
                  <a:cubicBezTo>
                    <a:pt x="63" y="11"/>
                    <a:pt x="60" y="7"/>
                    <a:pt x="55" y="5"/>
                  </a:cubicBezTo>
                  <a:close/>
                  <a:moveTo>
                    <a:pt x="52" y="55"/>
                  </a:moveTo>
                  <a:cubicBezTo>
                    <a:pt x="52" y="61"/>
                    <a:pt x="50" y="66"/>
                    <a:pt x="47" y="69"/>
                  </a:cubicBezTo>
                  <a:cubicBezTo>
                    <a:pt x="44" y="73"/>
                    <a:pt x="40" y="74"/>
                    <a:pt x="34" y="74"/>
                  </a:cubicBezTo>
                  <a:cubicBezTo>
                    <a:pt x="30" y="74"/>
                    <a:pt x="27" y="74"/>
                    <a:pt x="25" y="72"/>
                  </a:cubicBezTo>
                  <a:cubicBezTo>
                    <a:pt x="22" y="71"/>
                    <a:pt x="20" y="69"/>
                    <a:pt x="19" y="66"/>
                  </a:cubicBezTo>
                  <a:cubicBezTo>
                    <a:pt x="18" y="64"/>
                    <a:pt x="17" y="61"/>
                    <a:pt x="17" y="57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29"/>
                    <a:pt x="18" y="26"/>
                    <a:pt x="19" y="24"/>
                  </a:cubicBezTo>
                  <a:cubicBezTo>
                    <a:pt x="20" y="21"/>
                    <a:pt x="22" y="19"/>
                    <a:pt x="25" y="18"/>
                  </a:cubicBezTo>
                  <a:cubicBezTo>
                    <a:pt x="27" y="16"/>
                    <a:pt x="30" y="16"/>
                    <a:pt x="34" y="16"/>
                  </a:cubicBezTo>
                  <a:cubicBezTo>
                    <a:pt x="40" y="16"/>
                    <a:pt x="44" y="18"/>
                    <a:pt x="47" y="21"/>
                  </a:cubicBezTo>
                  <a:cubicBezTo>
                    <a:pt x="50" y="25"/>
                    <a:pt x="52" y="30"/>
                    <a:pt x="52" y="36"/>
                  </a:cubicBezTo>
                  <a:lnTo>
                    <a:pt x="52" y="55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47" name="Freeform 6"/>
            <p:cNvSpPr>
              <a:spLocks/>
            </p:cNvSpPr>
            <p:nvPr/>
          </p:nvSpPr>
          <p:spPr bwMode="auto">
            <a:xfrm>
              <a:off x="1581136" y="2253714"/>
              <a:ext cx="25836" cy="104053"/>
            </a:xfrm>
            <a:custGeom>
              <a:avLst/>
              <a:gdLst>
                <a:gd name="T0" fmla="*/ 19 w 31"/>
                <a:gd name="T1" fmla="*/ 104 h 122"/>
                <a:gd name="T2" fmla="*/ 17 w 31"/>
                <a:gd name="T3" fmla="*/ 99 h 122"/>
                <a:gd name="T4" fmla="*/ 17 w 31"/>
                <a:gd name="T5" fmla="*/ 0 h 122"/>
                <a:gd name="T6" fmla="*/ 0 w 31"/>
                <a:gd name="T7" fmla="*/ 0 h 122"/>
                <a:gd name="T8" fmla="*/ 0 w 31"/>
                <a:gd name="T9" fmla="*/ 99 h 122"/>
                <a:gd name="T10" fmla="*/ 5 w 31"/>
                <a:gd name="T11" fmla="*/ 116 h 122"/>
                <a:gd name="T12" fmla="*/ 21 w 31"/>
                <a:gd name="T13" fmla="*/ 122 h 122"/>
                <a:gd name="T14" fmla="*/ 31 w 31"/>
                <a:gd name="T15" fmla="*/ 122 h 122"/>
                <a:gd name="T16" fmla="*/ 31 w 31"/>
                <a:gd name="T17" fmla="*/ 106 h 122"/>
                <a:gd name="T18" fmla="*/ 23 w 31"/>
                <a:gd name="T19" fmla="*/ 106 h 122"/>
                <a:gd name="T20" fmla="*/ 19 w 31"/>
                <a:gd name="T21" fmla="*/ 10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122">
                  <a:moveTo>
                    <a:pt x="19" y="104"/>
                  </a:moveTo>
                  <a:cubicBezTo>
                    <a:pt x="18" y="103"/>
                    <a:pt x="17" y="101"/>
                    <a:pt x="17" y="99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6"/>
                    <a:pt x="2" y="112"/>
                    <a:pt x="5" y="116"/>
                  </a:cubicBezTo>
                  <a:cubicBezTo>
                    <a:pt x="9" y="120"/>
                    <a:pt x="14" y="122"/>
                    <a:pt x="21" y="122"/>
                  </a:cubicBezTo>
                  <a:cubicBezTo>
                    <a:pt x="31" y="122"/>
                    <a:pt x="31" y="122"/>
                    <a:pt x="31" y="122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23" y="106"/>
                    <a:pt x="23" y="106"/>
                    <a:pt x="23" y="106"/>
                  </a:cubicBezTo>
                  <a:cubicBezTo>
                    <a:pt x="21" y="106"/>
                    <a:pt x="20" y="105"/>
                    <a:pt x="19" y="104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48" name="Freeform 7"/>
            <p:cNvSpPr>
              <a:spLocks noEditPoints="1"/>
            </p:cNvSpPr>
            <p:nvPr/>
          </p:nvSpPr>
          <p:spPr bwMode="auto">
            <a:xfrm>
              <a:off x="1644842" y="2281674"/>
              <a:ext cx="57689" cy="76801"/>
            </a:xfrm>
            <a:custGeom>
              <a:avLst/>
              <a:gdLst>
                <a:gd name="T0" fmla="*/ 54 w 69"/>
                <a:gd name="T1" fmla="*/ 4 h 90"/>
                <a:gd name="T2" fmla="*/ 35 w 69"/>
                <a:gd name="T3" fmla="*/ 0 h 90"/>
                <a:gd name="T4" fmla="*/ 17 w 69"/>
                <a:gd name="T5" fmla="*/ 4 h 90"/>
                <a:gd name="T6" fmla="*/ 4 w 69"/>
                <a:gd name="T7" fmla="*/ 13 h 90"/>
                <a:gd name="T8" fmla="*/ 17 w 69"/>
                <a:gd name="T9" fmla="*/ 21 h 90"/>
                <a:gd name="T10" fmla="*/ 25 w 69"/>
                <a:gd name="T11" fmla="*/ 17 h 90"/>
                <a:gd name="T12" fmla="*/ 36 w 69"/>
                <a:gd name="T13" fmla="*/ 15 h 90"/>
                <a:gd name="T14" fmla="*/ 48 w 69"/>
                <a:gd name="T15" fmla="*/ 20 h 90"/>
                <a:gd name="T16" fmla="*/ 53 w 69"/>
                <a:gd name="T17" fmla="*/ 33 h 90"/>
                <a:gd name="T18" fmla="*/ 53 w 69"/>
                <a:gd name="T19" fmla="*/ 37 h 90"/>
                <a:gd name="T20" fmla="*/ 29 w 69"/>
                <a:gd name="T21" fmla="*/ 37 h 90"/>
                <a:gd name="T22" fmla="*/ 7 w 69"/>
                <a:gd name="T23" fmla="*/ 44 h 90"/>
                <a:gd name="T24" fmla="*/ 0 w 69"/>
                <a:gd name="T25" fmla="*/ 63 h 90"/>
                <a:gd name="T26" fmla="*/ 8 w 69"/>
                <a:gd name="T27" fmla="*/ 83 h 90"/>
                <a:gd name="T28" fmla="*/ 32 w 69"/>
                <a:gd name="T29" fmla="*/ 90 h 90"/>
                <a:gd name="T30" fmla="*/ 42 w 69"/>
                <a:gd name="T31" fmla="*/ 89 h 90"/>
                <a:gd name="T32" fmla="*/ 49 w 69"/>
                <a:gd name="T33" fmla="*/ 85 h 90"/>
                <a:gd name="T34" fmla="*/ 53 w 69"/>
                <a:gd name="T35" fmla="*/ 81 h 90"/>
                <a:gd name="T36" fmla="*/ 53 w 69"/>
                <a:gd name="T37" fmla="*/ 89 h 90"/>
                <a:gd name="T38" fmla="*/ 69 w 69"/>
                <a:gd name="T39" fmla="*/ 89 h 90"/>
                <a:gd name="T40" fmla="*/ 69 w 69"/>
                <a:gd name="T41" fmla="*/ 33 h 90"/>
                <a:gd name="T42" fmla="*/ 65 w 69"/>
                <a:gd name="T43" fmla="*/ 15 h 90"/>
                <a:gd name="T44" fmla="*/ 54 w 69"/>
                <a:gd name="T45" fmla="*/ 4 h 90"/>
                <a:gd name="T46" fmla="*/ 48 w 69"/>
                <a:gd name="T47" fmla="*/ 74 h 90"/>
                <a:gd name="T48" fmla="*/ 34 w 69"/>
                <a:gd name="T49" fmla="*/ 76 h 90"/>
                <a:gd name="T50" fmla="*/ 20 w 69"/>
                <a:gd name="T51" fmla="*/ 73 h 90"/>
                <a:gd name="T52" fmla="*/ 16 w 69"/>
                <a:gd name="T53" fmla="*/ 63 h 90"/>
                <a:gd name="T54" fmla="*/ 19 w 69"/>
                <a:gd name="T55" fmla="*/ 54 h 90"/>
                <a:gd name="T56" fmla="*/ 29 w 69"/>
                <a:gd name="T57" fmla="*/ 51 h 90"/>
                <a:gd name="T58" fmla="*/ 53 w 69"/>
                <a:gd name="T59" fmla="*/ 51 h 90"/>
                <a:gd name="T60" fmla="*/ 53 w 69"/>
                <a:gd name="T61" fmla="*/ 67 h 90"/>
                <a:gd name="T62" fmla="*/ 48 w 69"/>
                <a:gd name="T63" fmla="*/ 7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9" h="90">
                  <a:moveTo>
                    <a:pt x="54" y="4"/>
                  </a:moveTo>
                  <a:cubicBezTo>
                    <a:pt x="48" y="2"/>
                    <a:pt x="42" y="0"/>
                    <a:pt x="35" y="0"/>
                  </a:cubicBezTo>
                  <a:cubicBezTo>
                    <a:pt x="28" y="0"/>
                    <a:pt x="22" y="1"/>
                    <a:pt x="17" y="4"/>
                  </a:cubicBezTo>
                  <a:cubicBezTo>
                    <a:pt x="12" y="6"/>
                    <a:pt x="7" y="9"/>
                    <a:pt x="4" y="13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9" y="20"/>
                    <a:pt x="22" y="18"/>
                    <a:pt x="25" y="17"/>
                  </a:cubicBezTo>
                  <a:cubicBezTo>
                    <a:pt x="29" y="16"/>
                    <a:pt x="32" y="15"/>
                    <a:pt x="36" y="15"/>
                  </a:cubicBezTo>
                  <a:cubicBezTo>
                    <a:pt x="41" y="15"/>
                    <a:pt x="45" y="17"/>
                    <a:pt x="48" y="20"/>
                  </a:cubicBezTo>
                  <a:cubicBezTo>
                    <a:pt x="52" y="23"/>
                    <a:pt x="53" y="28"/>
                    <a:pt x="53" y="33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19" y="37"/>
                    <a:pt x="12" y="39"/>
                    <a:pt x="7" y="44"/>
                  </a:cubicBezTo>
                  <a:cubicBezTo>
                    <a:pt x="2" y="48"/>
                    <a:pt x="0" y="54"/>
                    <a:pt x="0" y="63"/>
                  </a:cubicBezTo>
                  <a:cubicBezTo>
                    <a:pt x="0" y="72"/>
                    <a:pt x="2" y="79"/>
                    <a:pt x="8" y="83"/>
                  </a:cubicBezTo>
                  <a:cubicBezTo>
                    <a:pt x="13" y="88"/>
                    <a:pt x="21" y="90"/>
                    <a:pt x="32" y="90"/>
                  </a:cubicBezTo>
                  <a:cubicBezTo>
                    <a:pt x="35" y="90"/>
                    <a:pt x="39" y="90"/>
                    <a:pt x="42" y="89"/>
                  </a:cubicBezTo>
                  <a:cubicBezTo>
                    <a:pt x="44" y="88"/>
                    <a:pt x="47" y="87"/>
                    <a:pt x="49" y="85"/>
                  </a:cubicBezTo>
                  <a:cubicBezTo>
                    <a:pt x="51" y="84"/>
                    <a:pt x="52" y="83"/>
                    <a:pt x="53" y="8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69" y="89"/>
                    <a:pt x="69" y="89"/>
                    <a:pt x="69" y="89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9" y="26"/>
                    <a:pt x="68" y="20"/>
                    <a:pt x="65" y="15"/>
                  </a:cubicBezTo>
                  <a:cubicBezTo>
                    <a:pt x="63" y="10"/>
                    <a:pt x="59" y="7"/>
                    <a:pt x="54" y="4"/>
                  </a:cubicBezTo>
                  <a:close/>
                  <a:moveTo>
                    <a:pt x="48" y="74"/>
                  </a:moveTo>
                  <a:cubicBezTo>
                    <a:pt x="45" y="75"/>
                    <a:pt x="40" y="76"/>
                    <a:pt x="34" y="76"/>
                  </a:cubicBezTo>
                  <a:cubicBezTo>
                    <a:pt x="28" y="76"/>
                    <a:pt x="23" y="75"/>
                    <a:pt x="20" y="73"/>
                  </a:cubicBezTo>
                  <a:cubicBezTo>
                    <a:pt x="17" y="71"/>
                    <a:pt x="16" y="67"/>
                    <a:pt x="16" y="63"/>
                  </a:cubicBezTo>
                  <a:cubicBezTo>
                    <a:pt x="16" y="59"/>
                    <a:pt x="17" y="56"/>
                    <a:pt x="19" y="54"/>
                  </a:cubicBezTo>
                  <a:cubicBezTo>
                    <a:pt x="21" y="52"/>
                    <a:pt x="25" y="51"/>
                    <a:pt x="29" y="51"/>
                  </a:cubicBezTo>
                  <a:cubicBezTo>
                    <a:pt x="53" y="51"/>
                    <a:pt x="53" y="51"/>
                    <a:pt x="53" y="51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3" y="70"/>
                    <a:pt x="51" y="72"/>
                    <a:pt x="48" y="74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49" name="Freeform 8"/>
            <p:cNvSpPr>
              <a:spLocks/>
            </p:cNvSpPr>
            <p:nvPr/>
          </p:nvSpPr>
          <p:spPr bwMode="auto">
            <a:xfrm>
              <a:off x="1750310" y="2281674"/>
              <a:ext cx="58397" cy="76093"/>
            </a:xfrm>
            <a:custGeom>
              <a:avLst/>
              <a:gdLst>
                <a:gd name="T0" fmla="*/ 40 w 70"/>
                <a:gd name="T1" fmla="*/ 0 h 89"/>
                <a:gd name="T2" fmla="*/ 26 w 70"/>
                <a:gd name="T3" fmla="*/ 5 h 89"/>
                <a:gd name="T4" fmla="*/ 17 w 70"/>
                <a:gd name="T5" fmla="*/ 14 h 89"/>
                <a:gd name="T6" fmla="*/ 17 w 70"/>
                <a:gd name="T7" fmla="*/ 2 h 89"/>
                <a:gd name="T8" fmla="*/ 0 w 70"/>
                <a:gd name="T9" fmla="*/ 2 h 89"/>
                <a:gd name="T10" fmla="*/ 0 w 70"/>
                <a:gd name="T11" fmla="*/ 89 h 89"/>
                <a:gd name="T12" fmla="*/ 17 w 70"/>
                <a:gd name="T13" fmla="*/ 89 h 89"/>
                <a:gd name="T14" fmla="*/ 17 w 70"/>
                <a:gd name="T15" fmla="*/ 34 h 89"/>
                <a:gd name="T16" fmla="*/ 22 w 70"/>
                <a:gd name="T17" fmla="*/ 21 h 89"/>
                <a:gd name="T18" fmla="*/ 35 w 70"/>
                <a:gd name="T19" fmla="*/ 17 h 89"/>
                <a:gd name="T20" fmla="*/ 48 w 70"/>
                <a:gd name="T21" fmla="*/ 22 h 89"/>
                <a:gd name="T22" fmla="*/ 53 w 70"/>
                <a:gd name="T23" fmla="*/ 36 h 89"/>
                <a:gd name="T24" fmla="*/ 53 w 70"/>
                <a:gd name="T25" fmla="*/ 89 h 89"/>
                <a:gd name="T26" fmla="*/ 70 w 70"/>
                <a:gd name="T27" fmla="*/ 89 h 89"/>
                <a:gd name="T28" fmla="*/ 70 w 70"/>
                <a:gd name="T29" fmla="*/ 36 h 89"/>
                <a:gd name="T30" fmla="*/ 62 w 70"/>
                <a:gd name="T31" fmla="*/ 10 h 89"/>
                <a:gd name="T32" fmla="*/ 40 w 70"/>
                <a:gd name="T3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89">
                  <a:moveTo>
                    <a:pt x="40" y="0"/>
                  </a:moveTo>
                  <a:cubicBezTo>
                    <a:pt x="35" y="0"/>
                    <a:pt x="30" y="2"/>
                    <a:pt x="26" y="5"/>
                  </a:cubicBezTo>
                  <a:cubicBezTo>
                    <a:pt x="23" y="7"/>
                    <a:pt x="20" y="10"/>
                    <a:pt x="17" y="14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28"/>
                    <a:pt x="19" y="24"/>
                    <a:pt x="22" y="21"/>
                  </a:cubicBezTo>
                  <a:cubicBezTo>
                    <a:pt x="25" y="18"/>
                    <a:pt x="29" y="17"/>
                    <a:pt x="35" y="17"/>
                  </a:cubicBezTo>
                  <a:cubicBezTo>
                    <a:pt x="41" y="17"/>
                    <a:pt x="45" y="18"/>
                    <a:pt x="48" y="22"/>
                  </a:cubicBezTo>
                  <a:cubicBezTo>
                    <a:pt x="51" y="25"/>
                    <a:pt x="53" y="30"/>
                    <a:pt x="53" y="36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0" y="25"/>
                    <a:pt x="68" y="16"/>
                    <a:pt x="62" y="10"/>
                  </a:cubicBezTo>
                  <a:cubicBezTo>
                    <a:pt x="57" y="3"/>
                    <a:pt x="50" y="0"/>
                    <a:pt x="40" y="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0" name="Freeform 9"/>
            <p:cNvSpPr>
              <a:spLocks/>
            </p:cNvSpPr>
            <p:nvPr/>
          </p:nvSpPr>
          <p:spPr bwMode="auto">
            <a:xfrm>
              <a:off x="1856487" y="2281674"/>
              <a:ext cx="58751" cy="76093"/>
            </a:xfrm>
            <a:custGeom>
              <a:avLst/>
              <a:gdLst>
                <a:gd name="T0" fmla="*/ 40 w 70"/>
                <a:gd name="T1" fmla="*/ 0 h 89"/>
                <a:gd name="T2" fmla="*/ 26 w 70"/>
                <a:gd name="T3" fmla="*/ 5 h 89"/>
                <a:gd name="T4" fmla="*/ 17 w 70"/>
                <a:gd name="T5" fmla="*/ 14 h 89"/>
                <a:gd name="T6" fmla="*/ 17 w 70"/>
                <a:gd name="T7" fmla="*/ 2 h 89"/>
                <a:gd name="T8" fmla="*/ 0 w 70"/>
                <a:gd name="T9" fmla="*/ 2 h 89"/>
                <a:gd name="T10" fmla="*/ 0 w 70"/>
                <a:gd name="T11" fmla="*/ 89 h 89"/>
                <a:gd name="T12" fmla="*/ 17 w 70"/>
                <a:gd name="T13" fmla="*/ 89 h 89"/>
                <a:gd name="T14" fmla="*/ 17 w 70"/>
                <a:gd name="T15" fmla="*/ 34 h 89"/>
                <a:gd name="T16" fmla="*/ 22 w 70"/>
                <a:gd name="T17" fmla="*/ 21 h 89"/>
                <a:gd name="T18" fmla="*/ 35 w 70"/>
                <a:gd name="T19" fmla="*/ 17 h 89"/>
                <a:gd name="T20" fmla="*/ 48 w 70"/>
                <a:gd name="T21" fmla="*/ 22 h 89"/>
                <a:gd name="T22" fmla="*/ 53 w 70"/>
                <a:gd name="T23" fmla="*/ 36 h 89"/>
                <a:gd name="T24" fmla="*/ 53 w 70"/>
                <a:gd name="T25" fmla="*/ 89 h 89"/>
                <a:gd name="T26" fmla="*/ 70 w 70"/>
                <a:gd name="T27" fmla="*/ 89 h 89"/>
                <a:gd name="T28" fmla="*/ 70 w 70"/>
                <a:gd name="T29" fmla="*/ 36 h 89"/>
                <a:gd name="T30" fmla="*/ 62 w 70"/>
                <a:gd name="T31" fmla="*/ 10 h 89"/>
                <a:gd name="T32" fmla="*/ 40 w 70"/>
                <a:gd name="T3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89">
                  <a:moveTo>
                    <a:pt x="40" y="0"/>
                  </a:moveTo>
                  <a:cubicBezTo>
                    <a:pt x="35" y="0"/>
                    <a:pt x="30" y="2"/>
                    <a:pt x="26" y="5"/>
                  </a:cubicBezTo>
                  <a:cubicBezTo>
                    <a:pt x="22" y="7"/>
                    <a:pt x="20" y="10"/>
                    <a:pt x="17" y="14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28"/>
                    <a:pt x="19" y="24"/>
                    <a:pt x="22" y="21"/>
                  </a:cubicBezTo>
                  <a:cubicBezTo>
                    <a:pt x="25" y="18"/>
                    <a:pt x="29" y="17"/>
                    <a:pt x="35" y="17"/>
                  </a:cubicBezTo>
                  <a:cubicBezTo>
                    <a:pt x="40" y="17"/>
                    <a:pt x="45" y="18"/>
                    <a:pt x="48" y="22"/>
                  </a:cubicBezTo>
                  <a:cubicBezTo>
                    <a:pt x="51" y="25"/>
                    <a:pt x="53" y="30"/>
                    <a:pt x="53" y="36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0" y="25"/>
                    <a:pt x="67" y="16"/>
                    <a:pt x="62" y="10"/>
                  </a:cubicBezTo>
                  <a:cubicBezTo>
                    <a:pt x="57" y="3"/>
                    <a:pt x="50" y="0"/>
                    <a:pt x="40" y="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1" name="Rectangle 11"/>
            <p:cNvSpPr>
              <a:spLocks noChangeArrowheads="1"/>
            </p:cNvSpPr>
            <p:nvPr/>
          </p:nvSpPr>
          <p:spPr bwMode="auto">
            <a:xfrm>
              <a:off x="1963017" y="2283444"/>
              <a:ext cx="14157" cy="74324"/>
            </a:xfrm>
            <a:prstGeom prst="rect">
              <a:avLst/>
            </a:pr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2" name="Freeform 12"/>
            <p:cNvSpPr>
              <a:spLocks/>
            </p:cNvSpPr>
            <p:nvPr/>
          </p:nvSpPr>
          <p:spPr bwMode="auto">
            <a:xfrm>
              <a:off x="2024953" y="2281674"/>
              <a:ext cx="58397" cy="76093"/>
            </a:xfrm>
            <a:custGeom>
              <a:avLst/>
              <a:gdLst>
                <a:gd name="T0" fmla="*/ 40 w 70"/>
                <a:gd name="T1" fmla="*/ 0 h 89"/>
                <a:gd name="T2" fmla="*/ 26 w 70"/>
                <a:gd name="T3" fmla="*/ 5 h 89"/>
                <a:gd name="T4" fmla="*/ 17 w 70"/>
                <a:gd name="T5" fmla="*/ 14 h 89"/>
                <a:gd name="T6" fmla="*/ 17 w 70"/>
                <a:gd name="T7" fmla="*/ 2 h 89"/>
                <a:gd name="T8" fmla="*/ 0 w 70"/>
                <a:gd name="T9" fmla="*/ 2 h 89"/>
                <a:gd name="T10" fmla="*/ 0 w 70"/>
                <a:gd name="T11" fmla="*/ 89 h 89"/>
                <a:gd name="T12" fmla="*/ 17 w 70"/>
                <a:gd name="T13" fmla="*/ 89 h 89"/>
                <a:gd name="T14" fmla="*/ 17 w 70"/>
                <a:gd name="T15" fmla="*/ 34 h 89"/>
                <a:gd name="T16" fmla="*/ 21 w 70"/>
                <a:gd name="T17" fmla="*/ 21 h 89"/>
                <a:gd name="T18" fmla="*/ 34 w 70"/>
                <a:gd name="T19" fmla="*/ 17 h 89"/>
                <a:gd name="T20" fmla="*/ 48 w 70"/>
                <a:gd name="T21" fmla="*/ 22 h 89"/>
                <a:gd name="T22" fmla="*/ 53 w 70"/>
                <a:gd name="T23" fmla="*/ 36 h 89"/>
                <a:gd name="T24" fmla="*/ 53 w 70"/>
                <a:gd name="T25" fmla="*/ 89 h 89"/>
                <a:gd name="T26" fmla="*/ 70 w 70"/>
                <a:gd name="T27" fmla="*/ 89 h 89"/>
                <a:gd name="T28" fmla="*/ 70 w 70"/>
                <a:gd name="T29" fmla="*/ 36 h 89"/>
                <a:gd name="T30" fmla="*/ 62 w 70"/>
                <a:gd name="T31" fmla="*/ 10 h 89"/>
                <a:gd name="T32" fmla="*/ 40 w 70"/>
                <a:gd name="T3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89">
                  <a:moveTo>
                    <a:pt x="40" y="0"/>
                  </a:moveTo>
                  <a:cubicBezTo>
                    <a:pt x="35" y="0"/>
                    <a:pt x="30" y="2"/>
                    <a:pt x="26" y="5"/>
                  </a:cubicBezTo>
                  <a:cubicBezTo>
                    <a:pt x="22" y="7"/>
                    <a:pt x="19" y="10"/>
                    <a:pt x="17" y="14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28"/>
                    <a:pt x="18" y="24"/>
                    <a:pt x="21" y="21"/>
                  </a:cubicBezTo>
                  <a:cubicBezTo>
                    <a:pt x="25" y="18"/>
                    <a:pt x="29" y="17"/>
                    <a:pt x="34" y="17"/>
                  </a:cubicBezTo>
                  <a:cubicBezTo>
                    <a:pt x="40" y="17"/>
                    <a:pt x="45" y="18"/>
                    <a:pt x="48" y="22"/>
                  </a:cubicBezTo>
                  <a:cubicBezTo>
                    <a:pt x="51" y="25"/>
                    <a:pt x="53" y="30"/>
                    <a:pt x="53" y="36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0" y="25"/>
                    <a:pt x="67" y="16"/>
                    <a:pt x="62" y="10"/>
                  </a:cubicBezTo>
                  <a:cubicBezTo>
                    <a:pt x="57" y="3"/>
                    <a:pt x="49" y="0"/>
                    <a:pt x="40" y="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3" name="Freeform 13"/>
            <p:cNvSpPr>
              <a:spLocks noEditPoints="1"/>
            </p:cNvSpPr>
            <p:nvPr/>
          </p:nvSpPr>
          <p:spPr bwMode="auto">
            <a:xfrm>
              <a:off x="2128652" y="2281674"/>
              <a:ext cx="57689" cy="105823"/>
            </a:xfrm>
            <a:custGeom>
              <a:avLst/>
              <a:gdLst>
                <a:gd name="T0" fmla="*/ 52 w 69"/>
                <a:gd name="T1" fmla="*/ 13 h 124"/>
                <a:gd name="T2" fmla="*/ 43 w 69"/>
                <a:gd name="T3" fmla="*/ 4 h 124"/>
                <a:gd name="T4" fmla="*/ 29 w 69"/>
                <a:gd name="T5" fmla="*/ 0 h 124"/>
                <a:gd name="T6" fmla="*/ 14 w 69"/>
                <a:gd name="T7" fmla="*/ 4 h 124"/>
                <a:gd name="T8" fmla="*/ 4 w 69"/>
                <a:gd name="T9" fmla="*/ 16 h 124"/>
                <a:gd name="T10" fmla="*/ 0 w 69"/>
                <a:gd name="T11" fmla="*/ 36 h 124"/>
                <a:gd name="T12" fmla="*/ 0 w 69"/>
                <a:gd name="T13" fmla="*/ 55 h 124"/>
                <a:gd name="T14" fmla="*/ 4 w 69"/>
                <a:gd name="T15" fmla="*/ 74 h 124"/>
                <a:gd name="T16" fmla="*/ 14 w 69"/>
                <a:gd name="T17" fmla="*/ 86 h 124"/>
                <a:gd name="T18" fmla="*/ 30 w 69"/>
                <a:gd name="T19" fmla="*/ 90 h 124"/>
                <a:gd name="T20" fmla="*/ 45 w 69"/>
                <a:gd name="T21" fmla="*/ 86 h 124"/>
                <a:gd name="T22" fmla="*/ 52 w 69"/>
                <a:gd name="T23" fmla="*/ 77 h 124"/>
                <a:gd name="T24" fmla="*/ 52 w 69"/>
                <a:gd name="T25" fmla="*/ 89 h 124"/>
                <a:gd name="T26" fmla="*/ 47 w 69"/>
                <a:gd name="T27" fmla="*/ 104 h 124"/>
                <a:gd name="T28" fmla="*/ 32 w 69"/>
                <a:gd name="T29" fmla="*/ 109 h 124"/>
                <a:gd name="T30" fmla="*/ 22 w 69"/>
                <a:gd name="T31" fmla="*/ 107 h 124"/>
                <a:gd name="T32" fmla="*/ 14 w 69"/>
                <a:gd name="T33" fmla="*/ 100 h 124"/>
                <a:gd name="T34" fmla="*/ 2 w 69"/>
                <a:gd name="T35" fmla="*/ 110 h 124"/>
                <a:gd name="T36" fmla="*/ 14 w 69"/>
                <a:gd name="T37" fmla="*/ 120 h 124"/>
                <a:gd name="T38" fmla="*/ 22 w 69"/>
                <a:gd name="T39" fmla="*/ 124 h 124"/>
                <a:gd name="T40" fmla="*/ 32 w 69"/>
                <a:gd name="T41" fmla="*/ 124 h 124"/>
                <a:gd name="T42" fmla="*/ 52 w 69"/>
                <a:gd name="T43" fmla="*/ 120 h 124"/>
                <a:gd name="T44" fmla="*/ 65 w 69"/>
                <a:gd name="T45" fmla="*/ 107 h 124"/>
                <a:gd name="T46" fmla="*/ 69 w 69"/>
                <a:gd name="T47" fmla="*/ 86 h 124"/>
                <a:gd name="T48" fmla="*/ 69 w 69"/>
                <a:gd name="T49" fmla="*/ 2 h 124"/>
                <a:gd name="T50" fmla="*/ 52 w 69"/>
                <a:gd name="T51" fmla="*/ 2 h 124"/>
                <a:gd name="T52" fmla="*/ 52 w 69"/>
                <a:gd name="T53" fmla="*/ 13 h 124"/>
                <a:gd name="T54" fmla="*/ 50 w 69"/>
                <a:gd name="T55" fmla="*/ 66 h 124"/>
                <a:gd name="T56" fmla="*/ 44 w 69"/>
                <a:gd name="T57" fmla="*/ 72 h 124"/>
                <a:gd name="T58" fmla="*/ 35 w 69"/>
                <a:gd name="T59" fmla="*/ 75 h 124"/>
                <a:gd name="T60" fmla="*/ 22 w 69"/>
                <a:gd name="T61" fmla="*/ 69 h 124"/>
                <a:gd name="T62" fmla="*/ 17 w 69"/>
                <a:gd name="T63" fmla="*/ 55 h 124"/>
                <a:gd name="T64" fmla="*/ 17 w 69"/>
                <a:gd name="T65" fmla="*/ 36 h 124"/>
                <a:gd name="T66" fmla="*/ 22 w 69"/>
                <a:gd name="T67" fmla="*/ 21 h 124"/>
                <a:gd name="T68" fmla="*/ 35 w 69"/>
                <a:gd name="T69" fmla="*/ 16 h 124"/>
                <a:gd name="T70" fmla="*/ 44 w 69"/>
                <a:gd name="T71" fmla="*/ 18 h 124"/>
                <a:gd name="T72" fmla="*/ 50 w 69"/>
                <a:gd name="T73" fmla="*/ 24 h 124"/>
                <a:gd name="T74" fmla="*/ 52 w 69"/>
                <a:gd name="T75" fmla="*/ 33 h 124"/>
                <a:gd name="T76" fmla="*/ 52 w 69"/>
                <a:gd name="T77" fmla="*/ 57 h 124"/>
                <a:gd name="T78" fmla="*/ 50 w 69"/>
                <a:gd name="T79" fmla="*/ 6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9" h="124">
                  <a:moveTo>
                    <a:pt x="52" y="13"/>
                  </a:moveTo>
                  <a:cubicBezTo>
                    <a:pt x="50" y="9"/>
                    <a:pt x="47" y="6"/>
                    <a:pt x="43" y="4"/>
                  </a:cubicBezTo>
                  <a:cubicBezTo>
                    <a:pt x="39" y="1"/>
                    <a:pt x="35" y="0"/>
                    <a:pt x="29" y="0"/>
                  </a:cubicBezTo>
                  <a:cubicBezTo>
                    <a:pt x="23" y="0"/>
                    <a:pt x="18" y="1"/>
                    <a:pt x="14" y="4"/>
                  </a:cubicBezTo>
                  <a:cubicBezTo>
                    <a:pt x="9" y="7"/>
                    <a:pt x="6" y="11"/>
                    <a:pt x="4" y="16"/>
                  </a:cubicBezTo>
                  <a:cubicBezTo>
                    <a:pt x="1" y="22"/>
                    <a:pt x="0" y="28"/>
                    <a:pt x="0" y="36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2"/>
                    <a:pt x="1" y="69"/>
                    <a:pt x="4" y="74"/>
                  </a:cubicBezTo>
                  <a:cubicBezTo>
                    <a:pt x="6" y="79"/>
                    <a:pt x="9" y="83"/>
                    <a:pt x="14" y="86"/>
                  </a:cubicBezTo>
                  <a:cubicBezTo>
                    <a:pt x="18" y="89"/>
                    <a:pt x="24" y="90"/>
                    <a:pt x="30" y="90"/>
                  </a:cubicBezTo>
                  <a:cubicBezTo>
                    <a:pt x="36" y="90"/>
                    <a:pt x="41" y="89"/>
                    <a:pt x="45" y="86"/>
                  </a:cubicBezTo>
                  <a:cubicBezTo>
                    <a:pt x="48" y="83"/>
                    <a:pt x="50" y="80"/>
                    <a:pt x="52" y="77"/>
                  </a:cubicBezTo>
                  <a:cubicBezTo>
                    <a:pt x="52" y="89"/>
                    <a:pt x="52" y="89"/>
                    <a:pt x="52" y="89"/>
                  </a:cubicBezTo>
                  <a:cubicBezTo>
                    <a:pt x="52" y="95"/>
                    <a:pt x="50" y="100"/>
                    <a:pt x="47" y="104"/>
                  </a:cubicBezTo>
                  <a:cubicBezTo>
                    <a:pt x="43" y="107"/>
                    <a:pt x="38" y="109"/>
                    <a:pt x="32" y="109"/>
                  </a:cubicBezTo>
                  <a:cubicBezTo>
                    <a:pt x="28" y="109"/>
                    <a:pt x="25" y="108"/>
                    <a:pt x="22" y="107"/>
                  </a:cubicBezTo>
                  <a:cubicBezTo>
                    <a:pt x="19" y="105"/>
                    <a:pt x="16" y="103"/>
                    <a:pt x="14" y="100"/>
                  </a:cubicBezTo>
                  <a:cubicBezTo>
                    <a:pt x="2" y="110"/>
                    <a:pt x="2" y="110"/>
                    <a:pt x="2" y="110"/>
                  </a:cubicBezTo>
                  <a:cubicBezTo>
                    <a:pt x="5" y="115"/>
                    <a:pt x="9" y="118"/>
                    <a:pt x="14" y="120"/>
                  </a:cubicBezTo>
                  <a:cubicBezTo>
                    <a:pt x="19" y="123"/>
                    <a:pt x="22" y="124"/>
                    <a:pt x="22" y="124"/>
                  </a:cubicBezTo>
                  <a:cubicBezTo>
                    <a:pt x="22" y="124"/>
                    <a:pt x="25" y="124"/>
                    <a:pt x="32" y="124"/>
                  </a:cubicBezTo>
                  <a:cubicBezTo>
                    <a:pt x="40" y="124"/>
                    <a:pt x="46" y="123"/>
                    <a:pt x="52" y="120"/>
                  </a:cubicBezTo>
                  <a:cubicBezTo>
                    <a:pt x="58" y="117"/>
                    <a:pt x="62" y="112"/>
                    <a:pt x="65" y="107"/>
                  </a:cubicBezTo>
                  <a:cubicBezTo>
                    <a:pt x="68" y="101"/>
                    <a:pt x="69" y="94"/>
                    <a:pt x="69" y="86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52" y="2"/>
                    <a:pt x="52" y="2"/>
                    <a:pt x="52" y="2"/>
                  </a:cubicBezTo>
                  <a:lnTo>
                    <a:pt x="52" y="13"/>
                  </a:lnTo>
                  <a:close/>
                  <a:moveTo>
                    <a:pt x="50" y="66"/>
                  </a:moveTo>
                  <a:cubicBezTo>
                    <a:pt x="49" y="69"/>
                    <a:pt x="47" y="71"/>
                    <a:pt x="44" y="72"/>
                  </a:cubicBezTo>
                  <a:cubicBezTo>
                    <a:pt x="42" y="74"/>
                    <a:pt x="39" y="75"/>
                    <a:pt x="35" y="75"/>
                  </a:cubicBezTo>
                  <a:cubicBezTo>
                    <a:pt x="29" y="75"/>
                    <a:pt x="25" y="73"/>
                    <a:pt x="22" y="69"/>
                  </a:cubicBezTo>
                  <a:cubicBezTo>
                    <a:pt x="19" y="66"/>
                    <a:pt x="17" y="61"/>
                    <a:pt x="17" y="55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29"/>
                    <a:pt x="19" y="25"/>
                    <a:pt x="22" y="21"/>
                  </a:cubicBezTo>
                  <a:cubicBezTo>
                    <a:pt x="25" y="17"/>
                    <a:pt x="29" y="16"/>
                    <a:pt x="35" y="16"/>
                  </a:cubicBezTo>
                  <a:cubicBezTo>
                    <a:pt x="39" y="16"/>
                    <a:pt x="42" y="16"/>
                    <a:pt x="44" y="18"/>
                  </a:cubicBezTo>
                  <a:cubicBezTo>
                    <a:pt x="47" y="19"/>
                    <a:pt x="49" y="21"/>
                    <a:pt x="50" y="24"/>
                  </a:cubicBezTo>
                  <a:cubicBezTo>
                    <a:pt x="51" y="26"/>
                    <a:pt x="52" y="30"/>
                    <a:pt x="52" y="33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2" y="60"/>
                    <a:pt x="51" y="64"/>
                    <a:pt x="50" y="66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4" name="Freeform 14"/>
            <p:cNvSpPr>
              <a:spLocks noEditPoints="1"/>
            </p:cNvSpPr>
            <p:nvPr/>
          </p:nvSpPr>
          <p:spPr bwMode="auto">
            <a:xfrm>
              <a:off x="2282962" y="2253006"/>
              <a:ext cx="81756" cy="105469"/>
            </a:xfrm>
            <a:custGeom>
              <a:avLst/>
              <a:gdLst>
                <a:gd name="T0" fmla="*/ 83 w 98"/>
                <a:gd name="T1" fmla="*/ 95 h 124"/>
                <a:gd name="T2" fmla="*/ 89 w 98"/>
                <a:gd name="T3" fmla="*/ 61 h 124"/>
                <a:gd name="T4" fmla="*/ 73 w 98"/>
                <a:gd name="T5" fmla="*/ 61 h 124"/>
                <a:gd name="T6" fmla="*/ 69 w 98"/>
                <a:gd name="T7" fmla="*/ 87 h 124"/>
                <a:gd name="T8" fmla="*/ 67 w 98"/>
                <a:gd name="T9" fmla="*/ 90 h 124"/>
                <a:gd name="T10" fmla="*/ 43 w 98"/>
                <a:gd name="T11" fmla="*/ 63 h 124"/>
                <a:gd name="T12" fmla="*/ 35 w 98"/>
                <a:gd name="T13" fmla="*/ 54 h 124"/>
                <a:gd name="T14" fmla="*/ 30 w 98"/>
                <a:gd name="T15" fmla="*/ 43 h 124"/>
                <a:gd name="T16" fmla="*/ 29 w 98"/>
                <a:gd name="T17" fmla="*/ 33 h 124"/>
                <a:gd name="T18" fmla="*/ 33 w 98"/>
                <a:gd name="T19" fmla="*/ 21 h 124"/>
                <a:gd name="T20" fmla="*/ 44 w 98"/>
                <a:gd name="T21" fmla="*/ 16 h 124"/>
                <a:gd name="T22" fmla="*/ 56 w 98"/>
                <a:gd name="T23" fmla="*/ 20 h 124"/>
                <a:gd name="T24" fmla="*/ 60 w 98"/>
                <a:gd name="T25" fmla="*/ 32 h 124"/>
                <a:gd name="T26" fmla="*/ 60 w 98"/>
                <a:gd name="T27" fmla="*/ 34 h 124"/>
                <a:gd name="T28" fmla="*/ 77 w 98"/>
                <a:gd name="T29" fmla="*/ 34 h 124"/>
                <a:gd name="T30" fmla="*/ 77 w 98"/>
                <a:gd name="T31" fmla="*/ 32 h 124"/>
                <a:gd name="T32" fmla="*/ 68 w 98"/>
                <a:gd name="T33" fmla="*/ 8 h 124"/>
                <a:gd name="T34" fmla="*/ 44 w 98"/>
                <a:gd name="T35" fmla="*/ 0 h 124"/>
                <a:gd name="T36" fmla="*/ 20 w 98"/>
                <a:gd name="T37" fmla="*/ 8 h 124"/>
                <a:gd name="T38" fmla="*/ 12 w 98"/>
                <a:gd name="T39" fmla="*/ 33 h 124"/>
                <a:gd name="T40" fmla="*/ 14 w 98"/>
                <a:gd name="T41" fmla="*/ 48 h 124"/>
                <a:gd name="T42" fmla="*/ 18 w 98"/>
                <a:gd name="T43" fmla="*/ 58 h 124"/>
                <a:gd name="T44" fmla="*/ 8 w 98"/>
                <a:gd name="T45" fmla="*/ 65 h 124"/>
                <a:gd name="T46" fmla="*/ 0 w 98"/>
                <a:gd name="T47" fmla="*/ 89 h 124"/>
                <a:gd name="T48" fmla="*/ 4 w 98"/>
                <a:gd name="T49" fmla="*/ 108 h 124"/>
                <a:gd name="T50" fmla="*/ 16 w 98"/>
                <a:gd name="T51" fmla="*/ 120 h 124"/>
                <a:gd name="T52" fmla="*/ 36 w 98"/>
                <a:gd name="T53" fmla="*/ 124 h 124"/>
                <a:gd name="T54" fmla="*/ 65 w 98"/>
                <a:gd name="T55" fmla="*/ 116 h 124"/>
                <a:gd name="T56" fmla="*/ 68 w 98"/>
                <a:gd name="T57" fmla="*/ 114 h 124"/>
                <a:gd name="T58" fmla="*/ 77 w 98"/>
                <a:gd name="T59" fmla="*/ 123 h 124"/>
                <a:gd name="T60" fmla="*/ 98 w 98"/>
                <a:gd name="T61" fmla="*/ 123 h 124"/>
                <a:gd name="T62" fmla="*/ 79 w 98"/>
                <a:gd name="T63" fmla="*/ 102 h 124"/>
                <a:gd name="T64" fmla="*/ 83 w 98"/>
                <a:gd name="T65" fmla="*/ 95 h 124"/>
                <a:gd name="T66" fmla="*/ 58 w 98"/>
                <a:gd name="T67" fmla="*/ 103 h 124"/>
                <a:gd name="T68" fmla="*/ 40 w 98"/>
                <a:gd name="T69" fmla="*/ 109 h 124"/>
                <a:gd name="T70" fmla="*/ 22 w 98"/>
                <a:gd name="T71" fmla="*/ 103 h 124"/>
                <a:gd name="T72" fmla="*/ 16 w 98"/>
                <a:gd name="T73" fmla="*/ 89 h 124"/>
                <a:gd name="T74" fmla="*/ 22 w 98"/>
                <a:gd name="T75" fmla="*/ 74 h 124"/>
                <a:gd name="T76" fmla="*/ 28 w 98"/>
                <a:gd name="T77" fmla="*/ 71 h 124"/>
                <a:gd name="T78" fmla="*/ 30 w 98"/>
                <a:gd name="T79" fmla="*/ 74 h 124"/>
                <a:gd name="T80" fmla="*/ 58 w 98"/>
                <a:gd name="T81" fmla="*/ 103 h 124"/>
                <a:gd name="T82" fmla="*/ 58 w 98"/>
                <a:gd name="T83" fmla="*/ 10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8" h="124">
                  <a:moveTo>
                    <a:pt x="83" y="95"/>
                  </a:moveTo>
                  <a:cubicBezTo>
                    <a:pt x="87" y="86"/>
                    <a:pt x="89" y="74"/>
                    <a:pt x="89" y="61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3" y="71"/>
                    <a:pt x="72" y="80"/>
                    <a:pt x="69" y="87"/>
                  </a:cubicBezTo>
                  <a:cubicBezTo>
                    <a:pt x="69" y="88"/>
                    <a:pt x="68" y="89"/>
                    <a:pt x="67" y="90"/>
                  </a:cubicBezTo>
                  <a:cubicBezTo>
                    <a:pt x="43" y="63"/>
                    <a:pt x="43" y="63"/>
                    <a:pt x="43" y="63"/>
                  </a:cubicBezTo>
                  <a:cubicBezTo>
                    <a:pt x="40" y="60"/>
                    <a:pt x="37" y="57"/>
                    <a:pt x="35" y="54"/>
                  </a:cubicBezTo>
                  <a:cubicBezTo>
                    <a:pt x="33" y="50"/>
                    <a:pt x="31" y="47"/>
                    <a:pt x="30" y="43"/>
                  </a:cubicBezTo>
                  <a:cubicBezTo>
                    <a:pt x="29" y="40"/>
                    <a:pt x="29" y="37"/>
                    <a:pt x="29" y="33"/>
                  </a:cubicBezTo>
                  <a:cubicBezTo>
                    <a:pt x="29" y="28"/>
                    <a:pt x="30" y="24"/>
                    <a:pt x="33" y="21"/>
                  </a:cubicBezTo>
                  <a:cubicBezTo>
                    <a:pt x="36" y="18"/>
                    <a:pt x="39" y="16"/>
                    <a:pt x="44" y="16"/>
                  </a:cubicBezTo>
                  <a:cubicBezTo>
                    <a:pt x="49" y="16"/>
                    <a:pt x="53" y="18"/>
                    <a:pt x="56" y="20"/>
                  </a:cubicBezTo>
                  <a:cubicBezTo>
                    <a:pt x="58" y="23"/>
                    <a:pt x="60" y="27"/>
                    <a:pt x="60" y="32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77" y="34"/>
                    <a:pt x="77" y="34"/>
                    <a:pt x="77" y="34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77" y="22"/>
                    <a:pt x="74" y="14"/>
                    <a:pt x="68" y="8"/>
                  </a:cubicBezTo>
                  <a:cubicBezTo>
                    <a:pt x="63" y="3"/>
                    <a:pt x="55" y="0"/>
                    <a:pt x="44" y="0"/>
                  </a:cubicBezTo>
                  <a:cubicBezTo>
                    <a:pt x="34" y="0"/>
                    <a:pt x="26" y="3"/>
                    <a:pt x="20" y="8"/>
                  </a:cubicBezTo>
                  <a:cubicBezTo>
                    <a:pt x="15" y="14"/>
                    <a:pt x="12" y="23"/>
                    <a:pt x="12" y="33"/>
                  </a:cubicBezTo>
                  <a:cubicBezTo>
                    <a:pt x="12" y="38"/>
                    <a:pt x="12" y="43"/>
                    <a:pt x="14" y="48"/>
                  </a:cubicBezTo>
                  <a:cubicBezTo>
                    <a:pt x="15" y="51"/>
                    <a:pt x="16" y="55"/>
                    <a:pt x="18" y="58"/>
                  </a:cubicBezTo>
                  <a:cubicBezTo>
                    <a:pt x="14" y="60"/>
                    <a:pt x="11" y="62"/>
                    <a:pt x="8" y="65"/>
                  </a:cubicBezTo>
                  <a:cubicBezTo>
                    <a:pt x="3" y="71"/>
                    <a:pt x="0" y="79"/>
                    <a:pt x="0" y="89"/>
                  </a:cubicBezTo>
                  <a:cubicBezTo>
                    <a:pt x="0" y="96"/>
                    <a:pt x="1" y="103"/>
                    <a:pt x="4" y="108"/>
                  </a:cubicBezTo>
                  <a:cubicBezTo>
                    <a:pt x="7" y="113"/>
                    <a:pt x="11" y="117"/>
                    <a:pt x="16" y="120"/>
                  </a:cubicBezTo>
                  <a:cubicBezTo>
                    <a:pt x="22" y="123"/>
                    <a:pt x="28" y="124"/>
                    <a:pt x="36" y="124"/>
                  </a:cubicBezTo>
                  <a:cubicBezTo>
                    <a:pt x="47" y="124"/>
                    <a:pt x="57" y="121"/>
                    <a:pt x="65" y="116"/>
                  </a:cubicBezTo>
                  <a:cubicBezTo>
                    <a:pt x="66" y="116"/>
                    <a:pt x="67" y="115"/>
                    <a:pt x="68" y="114"/>
                  </a:cubicBezTo>
                  <a:cubicBezTo>
                    <a:pt x="77" y="123"/>
                    <a:pt x="77" y="123"/>
                    <a:pt x="77" y="123"/>
                  </a:cubicBezTo>
                  <a:cubicBezTo>
                    <a:pt x="98" y="123"/>
                    <a:pt x="98" y="123"/>
                    <a:pt x="98" y="123"/>
                  </a:cubicBezTo>
                  <a:cubicBezTo>
                    <a:pt x="79" y="102"/>
                    <a:pt x="79" y="102"/>
                    <a:pt x="79" y="102"/>
                  </a:cubicBezTo>
                  <a:cubicBezTo>
                    <a:pt x="80" y="100"/>
                    <a:pt x="82" y="98"/>
                    <a:pt x="83" y="95"/>
                  </a:cubicBezTo>
                  <a:close/>
                  <a:moveTo>
                    <a:pt x="58" y="103"/>
                  </a:moveTo>
                  <a:cubicBezTo>
                    <a:pt x="53" y="107"/>
                    <a:pt x="47" y="109"/>
                    <a:pt x="40" y="109"/>
                  </a:cubicBezTo>
                  <a:cubicBezTo>
                    <a:pt x="32" y="109"/>
                    <a:pt x="27" y="107"/>
                    <a:pt x="22" y="103"/>
                  </a:cubicBezTo>
                  <a:cubicBezTo>
                    <a:pt x="18" y="100"/>
                    <a:pt x="16" y="95"/>
                    <a:pt x="16" y="89"/>
                  </a:cubicBezTo>
                  <a:cubicBezTo>
                    <a:pt x="16" y="83"/>
                    <a:pt x="18" y="78"/>
                    <a:pt x="22" y="74"/>
                  </a:cubicBezTo>
                  <a:cubicBezTo>
                    <a:pt x="24" y="73"/>
                    <a:pt x="26" y="72"/>
                    <a:pt x="28" y="71"/>
                  </a:cubicBezTo>
                  <a:cubicBezTo>
                    <a:pt x="28" y="72"/>
                    <a:pt x="29" y="73"/>
                    <a:pt x="30" y="74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58" y="103"/>
                    <a:pt x="58" y="103"/>
                    <a:pt x="58" y="103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5" name="Freeform 15"/>
            <p:cNvSpPr>
              <a:spLocks/>
            </p:cNvSpPr>
            <p:nvPr/>
          </p:nvSpPr>
          <p:spPr bwMode="auto">
            <a:xfrm>
              <a:off x="2462046" y="2281674"/>
              <a:ext cx="57689" cy="76801"/>
            </a:xfrm>
            <a:custGeom>
              <a:avLst/>
              <a:gdLst>
                <a:gd name="T0" fmla="*/ 22 w 69"/>
                <a:gd name="T1" fmla="*/ 22 h 90"/>
                <a:gd name="T2" fmla="*/ 37 w 69"/>
                <a:gd name="T3" fmla="*/ 17 h 90"/>
                <a:gd name="T4" fmla="*/ 48 w 69"/>
                <a:gd name="T5" fmla="*/ 19 h 90"/>
                <a:gd name="T6" fmla="*/ 56 w 69"/>
                <a:gd name="T7" fmla="*/ 25 h 90"/>
                <a:gd name="T8" fmla="*/ 69 w 69"/>
                <a:gd name="T9" fmla="*/ 14 h 90"/>
                <a:gd name="T10" fmla="*/ 61 w 69"/>
                <a:gd name="T11" fmla="*/ 7 h 90"/>
                <a:gd name="T12" fmla="*/ 50 w 69"/>
                <a:gd name="T13" fmla="*/ 2 h 90"/>
                <a:gd name="T14" fmla="*/ 37 w 69"/>
                <a:gd name="T15" fmla="*/ 0 h 90"/>
                <a:gd name="T16" fmla="*/ 17 w 69"/>
                <a:gd name="T17" fmla="*/ 5 h 90"/>
                <a:gd name="T18" fmla="*/ 4 w 69"/>
                <a:gd name="T19" fmla="*/ 18 h 90"/>
                <a:gd name="T20" fmla="*/ 0 w 69"/>
                <a:gd name="T21" fmla="*/ 38 h 90"/>
                <a:gd name="T22" fmla="*/ 0 w 69"/>
                <a:gd name="T23" fmla="*/ 52 h 90"/>
                <a:gd name="T24" fmla="*/ 4 w 69"/>
                <a:gd name="T25" fmla="*/ 73 h 90"/>
                <a:gd name="T26" fmla="*/ 17 w 69"/>
                <a:gd name="T27" fmla="*/ 85 h 90"/>
                <a:gd name="T28" fmla="*/ 25 w 69"/>
                <a:gd name="T29" fmla="*/ 90 h 90"/>
                <a:gd name="T30" fmla="*/ 37 w 69"/>
                <a:gd name="T31" fmla="*/ 90 h 90"/>
                <a:gd name="T32" fmla="*/ 50 w 69"/>
                <a:gd name="T33" fmla="*/ 88 h 90"/>
                <a:gd name="T34" fmla="*/ 61 w 69"/>
                <a:gd name="T35" fmla="*/ 84 h 90"/>
                <a:gd name="T36" fmla="*/ 69 w 69"/>
                <a:gd name="T37" fmla="*/ 76 h 90"/>
                <a:gd name="T38" fmla="*/ 56 w 69"/>
                <a:gd name="T39" fmla="*/ 64 h 90"/>
                <a:gd name="T40" fmla="*/ 48 w 69"/>
                <a:gd name="T41" fmla="*/ 71 h 90"/>
                <a:gd name="T42" fmla="*/ 37 w 69"/>
                <a:gd name="T43" fmla="*/ 74 h 90"/>
                <a:gd name="T44" fmla="*/ 22 w 69"/>
                <a:gd name="T45" fmla="*/ 68 h 90"/>
                <a:gd name="T46" fmla="*/ 17 w 69"/>
                <a:gd name="T47" fmla="*/ 52 h 90"/>
                <a:gd name="T48" fmla="*/ 17 w 69"/>
                <a:gd name="T49" fmla="*/ 38 h 90"/>
                <a:gd name="T50" fmla="*/ 22 w 69"/>
                <a:gd name="T51" fmla="*/ 2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9" h="90">
                  <a:moveTo>
                    <a:pt x="22" y="22"/>
                  </a:moveTo>
                  <a:cubicBezTo>
                    <a:pt x="26" y="18"/>
                    <a:pt x="31" y="17"/>
                    <a:pt x="37" y="17"/>
                  </a:cubicBezTo>
                  <a:cubicBezTo>
                    <a:pt x="41" y="17"/>
                    <a:pt x="44" y="17"/>
                    <a:pt x="48" y="19"/>
                  </a:cubicBezTo>
                  <a:cubicBezTo>
                    <a:pt x="51" y="20"/>
                    <a:pt x="54" y="23"/>
                    <a:pt x="56" y="25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7" y="11"/>
                    <a:pt x="64" y="9"/>
                    <a:pt x="61" y="7"/>
                  </a:cubicBezTo>
                  <a:cubicBezTo>
                    <a:pt x="58" y="5"/>
                    <a:pt x="54" y="3"/>
                    <a:pt x="50" y="2"/>
                  </a:cubicBezTo>
                  <a:cubicBezTo>
                    <a:pt x="46" y="1"/>
                    <a:pt x="42" y="0"/>
                    <a:pt x="37" y="0"/>
                  </a:cubicBezTo>
                  <a:cubicBezTo>
                    <a:pt x="29" y="0"/>
                    <a:pt x="22" y="2"/>
                    <a:pt x="17" y="5"/>
                  </a:cubicBezTo>
                  <a:cubicBezTo>
                    <a:pt x="11" y="8"/>
                    <a:pt x="7" y="12"/>
                    <a:pt x="4" y="18"/>
                  </a:cubicBezTo>
                  <a:cubicBezTo>
                    <a:pt x="1" y="23"/>
                    <a:pt x="0" y="30"/>
                    <a:pt x="0" y="38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60"/>
                    <a:pt x="1" y="67"/>
                    <a:pt x="4" y="73"/>
                  </a:cubicBezTo>
                  <a:cubicBezTo>
                    <a:pt x="7" y="78"/>
                    <a:pt x="11" y="82"/>
                    <a:pt x="17" y="85"/>
                  </a:cubicBezTo>
                  <a:cubicBezTo>
                    <a:pt x="22" y="88"/>
                    <a:pt x="25" y="90"/>
                    <a:pt x="25" y="90"/>
                  </a:cubicBezTo>
                  <a:cubicBezTo>
                    <a:pt x="25" y="90"/>
                    <a:pt x="29" y="90"/>
                    <a:pt x="37" y="90"/>
                  </a:cubicBezTo>
                  <a:cubicBezTo>
                    <a:pt x="42" y="90"/>
                    <a:pt x="46" y="89"/>
                    <a:pt x="50" y="88"/>
                  </a:cubicBezTo>
                  <a:cubicBezTo>
                    <a:pt x="54" y="87"/>
                    <a:pt x="57" y="86"/>
                    <a:pt x="61" y="84"/>
                  </a:cubicBezTo>
                  <a:cubicBezTo>
                    <a:pt x="64" y="82"/>
                    <a:pt x="66" y="79"/>
                    <a:pt x="69" y="76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54" y="67"/>
                    <a:pt x="51" y="70"/>
                    <a:pt x="48" y="71"/>
                  </a:cubicBezTo>
                  <a:cubicBezTo>
                    <a:pt x="45" y="73"/>
                    <a:pt x="41" y="74"/>
                    <a:pt x="37" y="74"/>
                  </a:cubicBezTo>
                  <a:cubicBezTo>
                    <a:pt x="31" y="74"/>
                    <a:pt x="26" y="72"/>
                    <a:pt x="22" y="68"/>
                  </a:cubicBezTo>
                  <a:cubicBezTo>
                    <a:pt x="18" y="64"/>
                    <a:pt x="17" y="59"/>
                    <a:pt x="17" y="52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1"/>
                    <a:pt x="18" y="26"/>
                    <a:pt x="22" y="22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6" name="Freeform 16"/>
            <p:cNvSpPr>
              <a:spLocks noEditPoints="1"/>
            </p:cNvSpPr>
            <p:nvPr/>
          </p:nvSpPr>
          <p:spPr bwMode="auto">
            <a:xfrm>
              <a:off x="2559021" y="2281674"/>
              <a:ext cx="60521" cy="76801"/>
            </a:xfrm>
            <a:custGeom>
              <a:avLst/>
              <a:gdLst>
                <a:gd name="T0" fmla="*/ 55 w 72"/>
                <a:gd name="T1" fmla="*/ 5 h 90"/>
                <a:gd name="T2" fmla="*/ 36 w 72"/>
                <a:gd name="T3" fmla="*/ 0 h 90"/>
                <a:gd name="T4" fmla="*/ 16 w 72"/>
                <a:gd name="T5" fmla="*/ 5 h 90"/>
                <a:gd name="T6" fmla="*/ 4 w 72"/>
                <a:gd name="T7" fmla="*/ 18 h 90"/>
                <a:gd name="T8" fmla="*/ 0 w 72"/>
                <a:gd name="T9" fmla="*/ 38 h 90"/>
                <a:gd name="T10" fmla="*/ 0 w 72"/>
                <a:gd name="T11" fmla="*/ 52 h 90"/>
                <a:gd name="T12" fmla="*/ 4 w 72"/>
                <a:gd name="T13" fmla="*/ 73 h 90"/>
                <a:gd name="T14" fmla="*/ 16 w 72"/>
                <a:gd name="T15" fmla="*/ 85 h 90"/>
                <a:gd name="T16" fmla="*/ 36 w 72"/>
                <a:gd name="T17" fmla="*/ 90 h 90"/>
                <a:gd name="T18" fmla="*/ 55 w 72"/>
                <a:gd name="T19" fmla="*/ 85 h 90"/>
                <a:gd name="T20" fmla="*/ 67 w 72"/>
                <a:gd name="T21" fmla="*/ 73 h 90"/>
                <a:gd name="T22" fmla="*/ 72 w 72"/>
                <a:gd name="T23" fmla="*/ 52 h 90"/>
                <a:gd name="T24" fmla="*/ 72 w 72"/>
                <a:gd name="T25" fmla="*/ 38 h 90"/>
                <a:gd name="T26" fmla="*/ 67 w 72"/>
                <a:gd name="T27" fmla="*/ 18 h 90"/>
                <a:gd name="T28" fmla="*/ 55 w 72"/>
                <a:gd name="T29" fmla="*/ 5 h 90"/>
                <a:gd name="T30" fmla="*/ 55 w 72"/>
                <a:gd name="T31" fmla="*/ 52 h 90"/>
                <a:gd name="T32" fmla="*/ 50 w 72"/>
                <a:gd name="T33" fmla="*/ 68 h 90"/>
                <a:gd name="T34" fmla="*/ 36 w 72"/>
                <a:gd name="T35" fmla="*/ 74 h 90"/>
                <a:gd name="T36" fmla="*/ 22 w 72"/>
                <a:gd name="T37" fmla="*/ 68 h 90"/>
                <a:gd name="T38" fmla="*/ 17 w 72"/>
                <a:gd name="T39" fmla="*/ 52 h 90"/>
                <a:gd name="T40" fmla="*/ 17 w 72"/>
                <a:gd name="T41" fmla="*/ 38 h 90"/>
                <a:gd name="T42" fmla="*/ 22 w 72"/>
                <a:gd name="T43" fmla="*/ 22 h 90"/>
                <a:gd name="T44" fmla="*/ 36 w 72"/>
                <a:gd name="T45" fmla="*/ 17 h 90"/>
                <a:gd name="T46" fmla="*/ 50 w 72"/>
                <a:gd name="T47" fmla="*/ 22 h 90"/>
                <a:gd name="T48" fmla="*/ 55 w 72"/>
                <a:gd name="T49" fmla="*/ 38 h 90"/>
                <a:gd name="T50" fmla="*/ 55 w 72"/>
                <a:gd name="T51" fmla="*/ 5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2" h="90">
                  <a:moveTo>
                    <a:pt x="55" y="5"/>
                  </a:moveTo>
                  <a:cubicBezTo>
                    <a:pt x="50" y="2"/>
                    <a:pt x="43" y="0"/>
                    <a:pt x="36" y="0"/>
                  </a:cubicBezTo>
                  <a:cubicBezTo>
                    <a:pt x="28" y="0"/>
                    <a:pt x="22" y="2"/>
                    <a:pt x="16" y="5"/>
                  </a:cubicBezTo>
                  <a:cubicBezTo>
                    <a:pt x="11" y="8"/>
                    <a:pt x="7" y="12"/>
                    <a:pt x="4" y="18"/>
                  </a:cubicBezTo>
                  <a:cubicBezTo>
                    <a:pt x="1" y="23"/>
                    <a:pt x="0" y="30"/>
                    <a:pt x="0" y="38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60"/>
                    <a:pt x="1" y="67"/>
                    <a:pt x="4" y="73"/>
                  </a:cubicBezTo>
                  <a:cubicBezTo>
                    <a:pt x="7" y="78"/>
                    <a:pt x="11" y="82"/>
                    <a:pt x="16" y="85"/>
                  </a:cubicBezTo>
                  <a:cubicBezTo>
                    <a:pt x="22" y="88"/>
                    <a:pt x="28" y="90"/>
                    <a:pt x="36" y="90"/>
                  </a:cubicBezTo>
                  <a:cubicBezTo>
                    <a:pt x="43" y="90"/>
                    <a:pt x="50" y="88"/>
                    <a:pt x="55" y="85"/>
                  </a:cubicBezTo>
                  <a:cubicBezTo>
                    <a:pt x="61" y="82"/>
                    <a:pt x="65" y="78"/>
                    <a:pt x="67" y="73"/>
                  </a:cubicBezTo>
                  <a:cubicBezTo>
                    <a:pt x="70" y="67"/>
                    <a:pt x="72" y="60"/>
                    <a:pt x="72" y="52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0"/>
                    <a:pt x="70" y="23"/>
                    <a:pt x="67" y="18"/>
                  </a:cubicBezTo>
                  <a:cubicBezTo>
                    <a:pt x="65" y="12"/>
                    <a:pt x="61" y="8"/>
                    <a:pt x="55" y="5"/>
                  </a:cubicBezTo>
                  <a:close/>
                  <a:moveTo>
                    <a:pt x="55" y="52"/>
                  </a:moveTo>
                  <a:cubicBezTo>
                    <a:pt x="55" y="59"/>
                    <a:pt x="53" y="64"/>
                    <a:pt x="50" y="68"/>
                  </a:cubicBezTo>
                  <a:cubicBezTo>
                    <a:pt x="46" y="72"/>
                    <a:pt x="42" y="74"/>
                    <a:pt x="36" y="74"/>
                  </a:cubicBezTo>
                  <a:cubicBezTo>
                    <a:pt x="30" y="74"/>
                    <a:pt x="25" y="72"/>
                    <a:pt x="22" y="68"/>
                  </a:cubicBezTo>
                  <a:cubicBezTo>
                    <a:pt x="19" y="64"/>
                    <a:pt x="17" y="59"/>
                    <a:pt x="17" y="52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1"/>
                    <a:pt x="19" y="26"/>
                    <a:pt x="22" y="22"/>
                  </a:cubicBezTo>
                  <a:cubicBezTo>
                    <a:pt x="25" y="18"/>
                    <a:pt x="30" y="17"/>
                    <a:pt x="36" y="17"/>
                  </a:cubicBezTo>
                  <a:cubicBezTo>
                    <a:pt x="42" y="17"/>
                    <a:pt x="46" y="18"/>
                    <a:pt x="50" y="22"/>
                  </a:cubicBezTo>
                  <a:cubicBezTo>
                    <a:pt x="53" y="26"/>
                    <a:pt x="55" y="31"/>
                    <a:pt x="55" y="38"/>
                  </a:cubicBezTo>
                  <a:lnTo>
                    <a:pt x="55" y="52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7" name="Freeform 17"/>
            <p:cNvSpPr>
              <a:spLocks/>
            </p:cNvSpPr>
            <p:nvPr/>
          </p:nvSpPr>
          <p:spPr bwMode="auto">
            <a:xfrm>
              <a:off x="2665551" y="2281674"/>
              <a:ext cx="58397" cy="76093"/>
            </a:xfrm>
            <a:custGeom>
              <a:avLst/>
              <a:gdLst>
                <a:gd name="T0" fmla="*/ 40 w 70"/>
                <a:gd name="T1" fmla="*/ 0 h 89"/>
                <a:gd name="T2" fmla="*/ 26 w 70"/>
                <a:gd name="T3" fmla="*/ 5 h 89"/>
                <a:gd name="T4" fmla="*/ 17 w 70"/>
                <a:gd name="T5" fmla="*/ 14 h 89"/>
                <a:gd name="T6" fmla="*/ 17 w 70"/>
                <a:gd name="T7" fmla="*/ 2 h 89"/>
                <a:gd name="T8" fmla="*/ 0 w 70"/>
                <a:gd name="T9" fmla="*/ 2 h 89"/>
                <a:gd name="T10" fmla="*/ 0 w 70"/>
                <a:gd name="T11" fmla="*/ 89 h 89"/>
                <a:gd name="T12" fmla="*/ 17 w 70"/>
                <a:gd name="T13" fmla="*/ 89 h 89"/>
                <a:gd name="T14" fmla="*/ 17 w 70"/>
                <a:gd name="T15" fmla="*/ 34 h 89"/>
                <a:gd name="T16" fmla="*/ 22 w 70"/>
                <a:gd name="T17" fmla="*/ 21 h 89"/>
                <a:gd name="T18" fmla="*/ 35 w 70"/>
                <a:gd name="T19" fmla="*/ 17 h 89"/>
                <a:gd name="T20" fmla="*/ 48 w 70"/>
                <a:gd name="T21" fmla="*/ 22 h 89"/>
                <a:gd name="T22" fmla="*/ 53 w 70"/>
                <a:gd name="T23" fmla="*/ 36 h 89"/>
                <a:gd name="T24" fmla="*/ 53 w 70"/>
                <a:gd name="T25" fmla="*/ 89 h 89"/>
                <a:gd name="T26" fmla="*/ 70 w 70"/>
                <a:gd name="T27" fmla="*/ 89 h 89"/>
                <a:gd name="T28" fmla="*/ 70 w 70"/>
                <a:gd name="T29" fmla="*/ 36 h 89"/>
                <a:gd name="T30" fmla="*/ 62 w 70"/>
                <a:gd name="T31" fmla="*/ 10 h 89"/>
                <a:gd name="T32" fmla="*/ 40 w 70"/>
                <a:gd name="T3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89">
                  <a:moveTo>
                    <a:pt x="40" y="0"/>
                  </a:moveTo>
                  <a:cubicBezTo>
                    <a:pt x="35" y="0"/>
                    <a:pt x="30" y="2"/>
                    <a:pt x="26" y="5"/>
                  </a:cubicBezTo>
                  <a:cubicBezTo>
                    <a:pt x="22" y="7"/>
                    <a:pt x="19" y="10"/>
                    <a:pt x="17" y="14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28"/>
                    <a:pt x="19" y="24"/>
                    <a:pt x="22" y="21"/>
                  </a:cubicBezTo>
                  <a:cubicBezTo>
                    <a:pt x="25" y="18"/>
                    <a:pt x="29" y="17"/>
                    <a:pt x="35" y="17"/>
                  </a:cubicBezTo>
                  <a:cubicBezTo>
                    <a:pt x="40" y="17"/>
                    <a:pt x="45" y="18"/>
                    <a:pt x="48" y="22"/>
                  </a:cubicBezTo>
                  <a:cubicBezTo>
                    <a:pt x="51" y="25"/>
                    <a:pt x="53" y="30"/>
                    <a:pt x="53" y="36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0" y="25"/>
                    <a:pt x="67" y="16"/>
                    <a:pt x="62" y="10"/>
                  </a:cubicBezTo>
                  <a:cubicBezTo>
                    <a:pt x="57" y="3"/>
                    <a:pt x="50" y="0"/>
                    <a:pt x="40" y="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8" name="Freeform 18"/>
            <p:cNvSpPr>
              <a:spLocks/>
            </p:cNvSpPr>
            <p:nvPr/>
          </p:nvSpPr>
          <p:spPr bwMode="auto">
            <a:xfrm>
              <a:off x="2766065" y="2261500"/>
              <a:ext cx="32561" cy="96267"/>
            </a:xfrm>
            <a:custGeom>
              <a:avLst/>
              <a:gdLst>
                <a:gd name="T0" fmla="*/ 26 w 39"/>
                <a:gd name="T1" fmla="*/ 0 h 113"/>
                <a:gd name="T2" fmla="*/ 9 w 39"/>
                <a:gd name="T3" fmla="*/ 0 h 113"/>
                <a:gd name="T4" fmla="*/ 9 w 39"/>
                <a:gd name="T5" fmla="*/ 26 h 113"/>
                <a:gd name="T6" fmla="*/ 0 w 39"/>
                <a:gd name="T7" fmla="*/ 26 h 113"/>
                <a:gd name="T8" fmla="*/ 0 w 39"/>
                <a:gd name="T9" fmla="*/ 41 h 113"/>
                <a:gd name="T10" fmla="*/ 9 w 39"/>
                <a:gd name="T11" fmla="*/ 41 h 113"/>
                <a:gd name="T12" fmla="*/ 9 w 39"/>
                <a:gd name="T13" fmla="*/ 90 h 113"/>
                <a:gd name="T14" fmla="*/ 14 w 39"/>
                <a:gd name="T15" fmla="*/ 107 h 113"/>
                <a:gd name="T16" fmla="*/ 29 w 39"/>
                <a:gd name="T17" fmla="*/ 113 h 113"/>
                <a:gd name="T18" fmla="*/ 39 w 39"/>
                <a:gd name="T19" fmla="*/ 113 h 113"/>
                <a:gd name="T20" fmla="*/ 39 w 39"/>
                <a:gd name="T21" fmla="*/ 97 h 113"/>
                <a:gd name="T22" fmla="*/ 31 w 39"/>
                <a:gd name="T23" fmla="*/ 97 h 113"/>
                <a:gd name="T24" fmla="*/ 27 w 39"/>
                <a:gd name="T25" fmla="*/ 95 h 113"/>
                <a:gd name="T26" fmla="*/ 26 w 39"/>
                <a:gd name="T27" fmla="*/ 90 h 113"/>
                <a:gd name="T28" fmla="*/ 26 w 39"/>
                <a:gd name="T29" fmla="*/ 41 h 113"/>
                <a:gd name="T30" fmla="*/ 39 w 39"/>
                <a:gd name="T31" fmla="*/ 41 h 113"/>
                <a:gd name="T32" fmla="*/ 39 w 39"/>
                <a:gd name="T33" fmla="*/ 26 h 113"/>
                <a:gd name="T34" fmla="*/ 26 w 39"/>
                <a:gd name="T35" fmla="*/ 26 h 113"/>
                <a:gd name="T36" fmla="*/ 26 w 39"/>
                <a:gd name="T37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" h="113">
                  <a:moveTo>
                    <a:pt x="26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9" y="98"/>
                    <a:pt x="11" y="103"/>
                    <a:pt x="14" y="107"/>
                  </a:cubicBezTo>
                  <a:cubicBezTo>
                    <a:pt x="17" y="111"/>
                    <a:pt x="22" y="113"/>
                    <a:pt x="29" y="113"/>
                  </a:cubicBezTo>
                  <a:cubicBezTo>
                    <a:pt x="39" y="113"/>
                    <a:pt x="39" y="113"/>
                    <a:pt x="39" y="113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31" y="97"/>
                    <a:pt x="31" y="97"/>
                    <a:pt x="31" y="97"/>
                  </a:cubicBezTo>
                  <a:cubicBezTo>
                    <a:pt x="29" y="97"/>
                    <a:pt x="28" y="96"/>
                    <a:pt x="27" y="95"/>
                  </a:cubicBezTo>
                  <a:cubicBezTo>
                    <a:pt x="26" y="94"/>
                    <a:pt x="26" y="92"/>
                    <a:pt x="26" y="90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26" y="26"/>
                    <a:pt x="26" y="26"/>
                    <a:pt x="26" y="26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59" name="Freeform 19"/>
            <p:cNvSpPr>
              <a:spLocks/>
            </p:cNvSpPr>
            <p:nvPr/>
          </p:nvSpPr>
          <p:spPr bwMode="auto">
            <a:xfrm>
              <a:off x="2844636" y="2281674"/>
              <a:ext cx="49549" cy="76093"/>
            </a:xfrm>
            <a:custGeom>
              <a:avLst/>
              <a:gdLst>
                <a:gd name="T0" fmla="*/ 39 w 59"/>
                <a:gd name="T1" fmla="*/ 0 h 89"/>
                <a:gd name="T2" fmla="*/ 25 w 59"/>
                <a:gd name="T3" fmla="*/ 5 h 89"/>
                <a:gd name="T4" fmla="*/ 17 w 59"/>
                <a:gd name="T5" fmla="*/ 14 h 89"/>
                <a:gd name="T6" fmla="*/ 17 w 59"/>
                <a:gd name="T7" fmla="*/ 2 h 89"/>
                <a:gd name="T8" fmla="*/ 0 w 59"/>
                <a:gd name="T9" fmla="*/ 2 h 89"/>
                <a:gd name="T10" fmla="*/ 0 w 59"/>
                <a:gd name="T11" fmla="*/ 89 h 89"/>
                <a:gd name="T12" fmla="*/ 17 w 59"/>
                <a:gd name="T13" fmla="*/ 89 h 89"/>
                <a:gd name="T14" fmla="*/ 17 w 59"/>
                <a:gd name="T15" fmla="*/ 34 h 89"/>
                <a:gd name="T16" fmla="*/ 21 w 59"/>
                <a:gd name="T17" fmla="*/ 21 h 89"/>
                <a:gd name="T18" fmla="*/ 34 w 59"/>
                <a:gd name="T19" fmla="*/ 17 h 89"/>
                <a:gd name="T20" fmla="*/ 42 w 59"/>
                <a:gd name="T21" fmla="*/ 18 h 89"/>
                <a:gd name="T22" fmla="*/ 47 w 59"/>
                <a:gd name="T23" fmla="*/ 22 h 89"/>
                <a:gd name="T24" fmla="*/ 59 w 59"/>
                <a:gd name="T25" fmla="*/ 7 h 89"/>
                <a:gd name="T26" fmla="*/ 50 w 59"/>
                <a:gd name="T27" fmla="*/ 2 h 89"/>
                <a:gd name="T28" fmla="*/ 39 w 59"/>
                <a:gd name="T2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89">
                  <a:moveTo>
                    <a:pt x="39" y="0"/>
                  </a:moveTo>
                  <a:cubicBezTo>
                    <a:pt x="34" y="0"/>
                    <a:pt x="30" y="2"/>
                    <a:pt x="25" y="5"/>
                  </a:cubicBezTo>
                  <a:cubicBezTo>
                    <a:pt x="22" y="7"/>
                    <a:pt x="19" y="10"/>
                    <a:pt x="17" y="14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28"/>
                    <a:pt x="18" y="24"/>
                    <a:pt x="21" y="21"/>
                  </a:cubicBezTo>
                  <a:cubicBezTo>
                    <a:pt x="24" y="18"/>
                    <a:pt x="28" y="17"/>
                    <a:pt x="34" y="17"/>
                  </a:cubicBezTo>
                  <a:cubicBezTo>
                    <a:pt x="37" y="17"/>
                    <a:pt x="39" y="17"/>
                    <a:pt x="42" y="18"/>
                  </a:cubicBezTo>
                  <a:cubicBezTo>
                    <a:pt x="44" y="19"/>
                    <a:pt x="46" y="20"/>
                    <a:pt x="47" y="22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56" y="5"/>
                    <a:pt x="53" y="3"/>
                    <a:pt x="50" y="2"/>
                  </a:cubicBezTo>
                  <a:cubicBezTo>
                    <a:pt x="47" y="1"/>
                    <a:pt x="43" y="0"/>
                    <a:pt x="39" y="0"/>
                  </a:cubicBez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60" name="Freeform 20"/>
            <p:cNvSpPr>
              <a:spLocks noEditPoints="1"/>
            </p:cNvSpPr>
            <p:nvPr/>
          </p:nvSpPr>
          <p:spPr bwMode="auto">
            <a:xfrm>
              <a:off x="2928515" y="2281674"/>
              <a:ext cx="59459" cy="76801"/>
            </a:xfrm>
            <a:custGeom>
              <a:avLst/>
              <a:gdLst>
                <a:gd name="T0" fmla="*/ 55 w 71"/>
                <a:gd name="T1" fmla="*/ 5 h 90"/>
                <a:gd name="T2" fmla="*/ 35 w 71"/>
                <a:gd name="T3" fmla="*/ 0 h 90"/>
                <a:gd name="T4" fmla="*/ 16 w 71"/>
                <a:gd name="T5" fmla="*/ 5 h 90"/>
                <a:gd name="T6" fmla="*/ 4 w 71"/>
                <a:gd name="T7" fmla="*/ 18 h 90"/>
                <a:gd name="T8" fmla="*/ 0 w 71"/>
                <a:gd name="T9" fmla="*/ 38 h 90"/>
                <a:gd name="T10" fmla="*/ 0 w 71"/>
                <a:gd name="T11" fmla="*/ 52 h 90"/>
                <a:gd name="T12" fmla="*/ 4 w 71"/>
                <a:gd name="T13" fmla="*/ 73 h 90"/>
                <a:gd name="T14" fmla="*/ 16 w 71"/>
                <a:gd name="T15" fmla="*/ 85 h 90"/>
                <a:gd name="T16" fmla="*/ 35 w 71"/>
                <a:gd name="T17" fmla="*/ 90 h 90"/>
                <a:gd name="T18" fmla="*/ 55 w 71"/>
                <a:gd name="T19" fmla="*/ 85 h 90"/>
                <a:gd name="T20" fmla="*/ 67 w 71"/>
                <a:gd name="T21" fmla="*/ 73 h 90"/>
                <a:gd name="T22" fmla="*/ 71 w 71"/>
                <a:gd name="T23" fmla="*/ 52 h 90"/>
                <a:gd name="T24" fmla="*/ 71 w 71"/>
                <a:gd name="T25" fmla="*/ 38 h 90"/>
                <a:gd name="T26" fmla="*/ 67 w 71"/>
                <a:gd name="T27" fmla="*/ 18 h 90"/>
                <a:gd name="T28" fmla="*/ 55 w 71"/>
                <a:gd name="T29" fmla="*/ 5 h 90"/>
                <a:gd name="T30" fmla="*/ 54 w 71"/>
                <a:gd name="T31" fmla="*/ 52 h 90"/>
                <a:gd name="T32" fmla="*/ 49 w 71"/>
                <a:gd name="T33" fmla="*/ 68 h 90"/>
                <a:gd name="T34" fmla="*/ 35 w 71"/>
                <a:gd name="T35" fmla="*/ 74 h 90"/>
                <a:gd name="T36" fmla="*/ 22 w 71"/>
                <a:gd name="T37" fmla="*/ 68 h 90"/>
                <a:gd name="T38" fmla="*/ 17 w 71"/>
                <a:gd name="T39" fmla="*/ 52 h 90"/>
                <a:gd name="T40" fmla="*/ 17 w 71"/>
                <a:gd name="T41" fmla="*/ 38 h 90"/>
                <a:gd name="T42" fmla="*/ 22 w 71"/>
                <a:gd name="T43" fmla="*/ 22 h 90"/>
                <a:gd name="T44" fmla="*/ 35 w 71"/>
                <a:gd name="T45" fmla="*/ 17 h 90"/>
                <a:gd name="T46" fmla="*/ 49 w 71"/>
                <a:gd name="T47" fmla="*/ 22 h 90"/>
                <a:gd name="T48" fmla="*/ 54 w 71"/>
                <a:gd name="T49" fmla="*/ 38 h 90"/>
                <a:gd name="T50" fmla="*/ 54 w 71"/>
                <a:gd name="T51" fmla="*/ 5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1" h="90">
                  <a:moveTo>
                    <a:pt x="55" y="5"/>
                  </a:moveTo>
                  <a:cubicBezTo>
                    <a:pt x="49" y="2"/>
                    <a:pt x="43" y="0"/>
                    <a:pt x="35" y="0"/>
                  </a:cubicBezTo>
                  <a:cubicBezTo>
                    <a:pt x="28" y="0"/>
                    <a:pt x="21" y="2"/>
                    <a:pt x="16" y="5"/>
                  </a:cubicBezTo>
                  <a:cubicBezTo>
                    <a:pt x="11" y="8"/>
                    <a:pt x="7" y="12"/>
                    <a:pt x="4" y="18"/>
                  </a:cubicBezTo>
                  <a:cubicBezTo>
                    <a:pt x="1" y="23"/>
                    <a:pt x="0" y="30"/>
                    <a:pt x="0" y="38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60"/>
                    <a:pt x="1" y="67"/>
                    <a:pt x="4" y="73"/>
                  </a:cubicBezTo>
                  <a:cubicBezTo>
                    <a:pt x="7" y="78"/>
                    <a:pt x="11" y="82"/>
                    <a:pt x="16" y="85"/>
                  </a:cubicBezTo>
                  <a:cubicBezTo>
                    <a:pt x="21" y="88"/>
                    <a:pt x="28" y="90"/>
                    <a:pt x="35" y="90"/>
                  </a:cubicBezTo>
                  <a:cubicBezTo>
                    <a:pt x="43" y="90"/>
                    <a:pt x="49" y="88"/>
                    <a:pt x="55" y="85"/>
                  </a:cubicBezTo>
                  <a:cubicBezTo>
                    <a:pt x="60" y="82"/>
                    <a:pt x="64" y="78"/>
                    <a:pt x="67" y="73"/>
                  </a:cubicBezTo>
                  <a:cubicBezTo>
                    <a:pt x="70" y="67"/>
                    <a:pt x="71" y="60"/>
                    <a:pt x="71" y="52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0"/>
                    <a:pt x="70" y="23"/>
                    <a:pt x="67" y="18"/>
                  </a:cubicBezTo>
                  <a:cubicBezTo>
                    <a:pt x="64" y="12"/>
                    <a:pt x="60" y="8"/>
                    <a:pt x="55" y="5"/>
                  </a:cubicBezTo>
                  <a:close/>
                  <a:moveTo>
                    <a:pt x="54" y="52"/>
                  </a:moveTo>
                  <a:cubicBezTo>
                    <a:pt x="54" y="59"/>
                    <a:pt x="53" y="64"/>
                    <a:pt x="49" y="68"/>
                  </a:cubicBezTo>
                  <a:cubicBezTo>
                    <a:pt x="46" y="72"/>
                    <a:pt x="41" y="74"/>
                    <a:pt x="35" y="74"/>
                  </a:cubicBezTo>
                  <a:cubicBezTo>
                    <a:pt x="29" y="74"/>
                    <a:pt x="25" y="72"/>
                    <a:pt x="22" y="68"/>
                  </a:cubicBezTo>
                  <a:cubicBezTo>
                    <a:pt x="18" y="64"/>
                    <a:pt x="17" y="59"/>
                    <a:pt x="17" y="52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1"/>
                    <a:pt x="18" y="26"/>
                    <a:pt x="22" y="22"/>
                  </a:cubicBezTo>
                  <a:cubicBezTo>
                    <a:pt x="25" y="18"/>
                    <a:pt x="29" y="17"/>
                    <a:pt x="35" y="17"/>
                  </a:cubicBezTo>
                  <a:cubicBezTo>
                    <a:pt x="41" y="17"/>
                    <a:pt x="46" y="18"/>
                    <a:pt x="49" y="22"/>
                  </a:cubicBezTo>
                  <a:cubicBezTo>
                    <a:pt x="53" y="26"/>
                    <a:pt x="54" y="31"/>
                    <a:pt x="54" y="38"/>
                  </a:cubicBezTo>
                  <a:lnTo>
                    <a:pt x="54" y="52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  <p:sp>
          <p:nvSpPr>
            <p:cNvPr id="61" name="Freeform 21"/>
            <p:cNvSpPr>
              <a:spLocks/>
            </p:cNvSpPr>
            <p:nvPr/>
          </p:nvSpPr>
          <p:spPr bwMode="auto">
            <a:xfrm>
              <a:off x="3034691" y="2253714"/>
              <a:ext cx="25128" cy="104053"/>
            </a:xfrm>
            <a:custGeom>
              <a:avLst/>
              <a:gdLst>
                <a:gd name="T0" fmla="*/ 22 w 30"/>
                <a:gd name="T1" fmla="*/ 106 h 122"/>
                <a:gd name="T2" fmla="*/ 18 w 30"/>
                <a:gd name="T3" fmla="*/ 104 h 122"/>
                <a:gd name="T4" fmla="*/ 17 w 30"/>
                <a:gd name="T5" fmla="*/ 99 h 122"/>
                <a:gd name="T6" fmla="*/ 17 w 30"/>
                <a:gd name="T7" fmla="*/ 0 h 122"/>
                <a:gd name="T8" fmla="*/ 0 w 30"/>
                <a:gd name="T9" fmla="*/ 0 h 122"/>
                <a:gd name="T10" fmla="*/ 0 w 30"/>
                <a:gd name="T11" fmla="*/ 99 h 122"/>
                <a:gd name="T12" fmla="*/ 5 w 30"/>
                <a:gd name="T13" fmla="*/ 116 h 122"/>
                <a:gd name="T14" fmla="*/ 20 w 30"/>
                <a:gd name="T15" fmla="*/ 122 h 122"/>
                <a:gd name="T16" fmla="*/ 30 w 30"/>
                <a:gd name="T17" fmla="*/ 122 h 122"/>
                <a:gd name="T18" fmla="*/ 30 w 30"/>
                <a:gd name="T19" fmla="*/ 106 h 122"/>
                <a:gd name="T20" fmla="*/ 22 w 30"/>
                <a:gd name="T21" fmla="*/ 106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22">
                  <a:moveTo>
                    <a:pt x="22" y="106"/>
                  </a:moveTo>
                  <a:cubicBezTo>
                    <a:pt x="20" y="106"/>
                    <a:pt x="19" y="105"/>
                    <a:pt x="18" y="104"/>
                  </a:cubicBezTo>
                  <a:cubicBezTo>
                    <a:pt x="17" y="103"/>
                    <a:pt x="17" y="101"/>
                    <a:pt x="17" y="99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6"/>
                    <a:pt x="1" y="112"/>
                    <a:pt x="5" y="116"/>
                  </a:cubicBezTo>
                  <a:cubicBezTo>
                    <a:pt x="8" y="120"/>
                    <a:pt x="13" y="122"/>
                    <a:pt x="20" y="122"/>
                  </a:cubicBezTo>
                  <a:cubicBezTo>
                    <a:pt x="30" y="122"/>
                    <a:pt x="30" y="122"/>
                    <a:pt x="30" y="122"/>
                  </a:cubicBezTo>
                  <a:cubicBezTo>
                    <a:pt x="30" y="106"/>
                    <a:pt x="30" y="106"/>
                    <a:pt x="30" y="106"/>
                  </a:cubicBezTo>
                  <a:lnTo>
                    <a:pt x="22" y="106"/>
                  </a:lnTo>
                  <a:close/>
                </a:path>
              </a:pathLst>
            </a:custGeom>
            <a:solidFill>
              <a:srgbClr val="00B3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058"/>
            </a:p>
          </p:txBody>
        </p:sp>
      </p:grpSp>
    </p:spTree>
    <p:extLst>
      <p:ext uri="{BB962C8B-B14F-4D97-AF65-F5344CB8AC3E}">
        <p14:creationId xmlns:p14="http://schemas.microsoft.com/office/powerpoint/2010/main" val="158281551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基本版B：LA_16_9_Onsc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タイトル"/>
          <p:cNvSpPr>
            <a:spLocks noGrp="1"/>
          </p:cNvSpPr>
          <p:nvPr>
            <p:ph type="title" hasCustomPrompt="1"/>
          </p:nvPr>
        </p:nvSpPr>
        <p:spPr bwMode="gray">
          <a:xfrm>
            <a:off x="388673" y="483237"/>
            <a:ext cx="9127842" cy="640715"/>
          </a:xfrm>
          <a:prstGeom prst="rect">
            <a:avLst/>
          </a:prstGeom>
        </p:spPr>
        <p:txBody>
          <a:bodyPr lIns="36000" tIns="36000" rIns="36000" bIns="36000" anchor="b"/>
          <a:lstStyle>
            <a:lvl1pPr>
              <a:lnSpc>
                <a:spcPct val="80000"/>
              </a:lnSpc>
              <a:defRPr sz="3033" baseline="0"/>
            </a:lvl1pPr>
          </a:lstStyle>
          <a:p>
            <a:r>
              <a:rPr lang="ja-JP" altLang="en-US" noProof="0" dirty="0" smtClean="0"/>
              <a:t>スライドタイトル（</a:t>
            </a:r>
            <a:r>
              <a:rPr lang="en-US" altLang="ja-JP" noProof="0" dirty="0" smtClean="0"/>
              <a:t>28pt</a:t>
            </a:r>
            <a:r>
              <a:rPr lang="ja-JP" altLang="en-US" noProof="0" dirty="0" smtClean="0"/>
              <a:t>／太字）</a:t>
            </a:r>
            <a:endParaRPr kumimoji="1" lang="ja-JP" altLang="en-US" dirty="0"/>
          </a:p>
        </p:txBody>
      </p:sp>
      <p:sp>
        <p:nvSpPr>
          <p:cNvPr id="48" name="コンテンツ プレースホルダー 47"/>
          <p:cNvSpPr>
            <a:spLocks noGrp="1"/>
          </p:cNvSpPr>
          <p:nvPr>
            <p:ph sz="quarter" idx="11" hasCustomPrompt="1"/>
          </p:nvPr>
        </p:nvSpPr>
        <p:spPr bwMode="gray">
          <a:xfrm>
            <a:off x="390393" y="1316567"/>
            <a:ext cx="9128654" cy="48725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17"/>
              </a:spcBef>
              <a:spcAft>
                <a:spcPts val="217"/>
              </a:spcAft>
              <a:buNone/>
              <a:defRPr sz="1950" baseline="0">
                <a:latin typeface="+mn-lt"/>
              </a:defRPr>
            </a:lvl1pPr>
            <a:lvl2pPr marL="288916" indent="-288916" algn="l">
              <a:spcBef>
                <a:spcPts val="217"/>
              </a:spcBef>
              <a:spcAft>
                <a:spcPts val="217"/>
              </a:spcAft>
              <a:buClr>
                <a:schemeClr val="bg2"/>
              </a:buClr>
              <a:buFont typeface="Wingdings" panose="05000000000000000000" pitchFamily="2" charset="2"/>
              <a:buChar char="u"/>
              <a:defRPr sz="1950">
                <a:latin typeface="+mn-lt"/>
              </a:defRPr>
            </a:lvl2pPr>
            <a:lvl3pPr marL="486687" marR="0" indent="-197770" algn="l" defTabSz="804784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950"/>
            </a:lvl3pPr>
            <a:lvl4pPr marL="775603" marR="0" indent="-213248" algn="l" defTabSz="804784" rtl="0" eaLnBrk="1" fontAlgn="auto" latinLnBrk="0" hangingPunct="1">
              <a:lnSpc>
                <a:spcPct val="100000"/>
              </a:lnSpc>
              <a:spcBef>
                <a:spcPts val="217"/>
              </a:spcBef>
              <a:spcAft>
                <a:spcPts val="217"/>
              </a:spcAft>
              <a:buClrTx/>
              <a:buSzPct val="100000"/>
              <a:buFont typeface="Arial" panose="020B0604020202020204" pitchFamily="34" charset="0"/>
              <a:buChar char="-"/>
              <a:tabLst/>
              <a:defRPr sz="1950">
                <a:latin typeface="+mn-lt"/>
              </a:defRPr>
            </a:lvl4pPr>
            <a:lvl5pPr marL="1066238" indent="-192611" algn="l">
              <a:spcBef>
                <a:spcPts val="217"/>
              </a:spcBef>
              <a:spcAft>
                <a:spcPts val="217"/>
              </a:spcAft>
              <a:buFont typeface="Arial" panose="020B0604020202020204" pitchFamily="34" charset="0"/>
              <a:buChar char="-"/>
              <a:defRPr sz="1950"/>
            </a:lvl5pPr>
            <a:lvl6pPr marL="1064519" indent="-190892">
              <a:buFont typeface="Arial" panose="020B0604020202020204" pitchFamily="34" charset="0"/>
              <a:buChar char="-"/>
              <a:defRPr sz="1950"/>
            </a:lvl6pPr>
          </a:lstStyle>
          <a:p>
            <a:pPr lvl="0"/>
            <a:r>
              <a:rPr kumimoji="1" lang="ja-JP" altLang="en-US" dirty="0" smtClean="0"/>
              <a:t>ワーキングエリア内にテキストを入力（</a:t>
            </a:r>
            <a:r>
              <a:rPr kumimoji="1" lang="en-US" altLang="ja-JP" dirty="0" smtClean="0"/>
              <a:t>18pt</a:t>
            </a:r>
            <a:r>
              <a:rPr kumimoji="1" lang="ja-JP" altLang="en-US" dirty="0" smtClean="0"/>
              <a:t>以上）</a:t>
            </a:r>
            <a:r>
              <a:rPr kumimoji="1" lang="en-US" altLang="ja-JP" dirty="0" smtClean="0"/>
              <a:t/>
            </a:r>
            <a:br>
              <a:rPr kumimoji="1" lang="en-US" altLang="ja-JP" dirty="0" smtClean="0"/>
            </a:br>
            <a:r>
              <a:rPr kumimoji="1" lang="ja-JP" altLang="en-US" dirty="0" smtClean="0"/>
              <a:t>インデントを増やす（</a:t>
            </a:r>
            <a:r>
              <a:rPr kumimoji="1" lang="en-US" altLang="ja-JP" dirty="0" smtClean="0"/>
              <a:t>[</a:t>
            </a:r>
            <a:r>
              <a:rPr kumimoji="1" lang="ja-JP" altLang="en-US" dirty="0" smtClean="0"/>
              <a:t>ホーム</a:t>
            </a:r>
            <a:r>
              <a:rPr kumimoji="1" lang="en-US" altLang="ja-JP" dirty="0" smtClean="0"/>
              <a:t>]</a:t>
            </a:r>
            <a:r>
              <a:rPr kumimoji="1" lang="ja-JP" altLang="en-US" dirty="0" smtClean="0"/>
              <a:t>＞</a:t>
            </a:r>
            <a:r>
              <a:rPr kumimoji="1" lang="en-US" altLang="ja-JP" dirty="0" smtClean="0"/>
              <a:t>[</a:t>
            </a:r>
            <a:r>
              <a:rPr kumimoji="1" lang="ja-JP" altLang="en-US" dirty="0" smtClean="0"/>
              <a:t>段落</a:t>
            </a:r>
            <a:r>
              <a:rPr kumimoji="1" lang="en-US" altLang="ja-JP" dirty="0" smtClean="0"/>
              <a:t>]</a:t>
            </a:r>
            <a:r>
              <a:rPr kumimoji="1" lang="ja-JP" altLang="en-US" dirty="0" smtClean="0"/>
              <a:t>＞</a:t>
            </a:r>
            <a:r>
              <a:rPr kumimoji="1" lang="en-US" altLang="ja-JP" dirty="0" smtClean="0"/>
              <a:t>[</a:t>
            </a:r>
            <a:r>
              <a:rPr kumimoji="1" lang="ja-JP" altLang="en-US" dirty="0" smtClean="0"/>
              <a:t>インデントを増やす</a:t>
            </a:r>
            <a:r>
              <a:rPr kumimoji="1" lang="en-US" altLang="ja-JP" dirty="0" smtClean="0"/>
              <a:t>]</a:t>
            </a:r>
            <a:r>
              <a:rPr kumimoji="1" lang="ja-JP" altLang="en-US" dirty="0" smtClean="0"/>
              <a:t>もしくは</a:t>
            </a:r>
            <a:r>
              <a:rPr kumimoji="1" lang="en-US" altLang="ja-JP" dirty="0" smtClean="0"/>
              <a:t>[Alt]</a:t>
            </a:r>
            <a:r>
              <a:rPr kumimoji="1" lang="ja-JP" altLang="en-US" dirty="0" smtClean="0"/>
              <a:t> </a:t>
            </a:r>
            <a:r>
              <a:rPr kumimoji="1" lang="en-US" altLang="ja-JP" dirty="0" smtClean="0"/>
              <a:t>[Shift] [ → ]</a:t>
            </a:r>
            <a:r>
              <a:rPr kumimoji="1" lang="ja-JP" altLang="en-US" dirty="0" smtClean="0"/>
              <a:t>）ことで、レベル下げが可能</a:t>
            </a:r>
          </a:p>
          <a:p>
            <a:pPr lvl="1"/>
            <a:r>
              <a:rPr kumimoji="1" lang="ja-JP" altLang="en-US" dirty="0" smtClean="0"/>
              <a:t>箇条書きテキスト（レベル</a:t>
            </a:r>
            <a:r>
              <a:rPr kumimoji="1" lang="en-US" altLang="ja-JP" dirty="0" smtClean="0"/>
              <a:t>1</a:t>
            </a:r>
            <a:r>
              <a:rPr kumimoji="1" lang="ja-JP" altLang="en-US" dirty="0" smtClean="0"/>
              <a:t>）</a:t>
            </a:r>
            <a:endParaRPr kumimoji="1" lang="en-US" altLang="ja-JP" dirty="0" smtClean="0"/>
          </a:p>
          <a:p>
            <a:pPr lvl="2"/>
            <a:r>
              <a:rPr kumimoji="1" lang="ja-JP" altLang="en-US" dirty="0" smtClean="0"/>
              <a:t>箇条書きテキスト（レベル</a:t>
            </a:r>
            <a:r>
              <a:rPr kumimoji="1" lang="en-US" altLang="ja-JP" dirty="0" smtClean="0"/>
              <a:t>2</a:t>
            </a:r>
            <a:r>
              <a:rPr kumimoji="1" lang="ja-JP" altLang="en-US" dirty="0" smtClean="0"/>
              <a:t>）</a:t>
            </a:r>
            <a:endParaRPr kumimoji="1" lang="en-US" altLang="ja-JP" dirty="0" smtClean="0"/>
          </a:p>
          <a:p>
            <a:pPr lvl="3"/>
            <a:r>
              <a:rPr kumimoji="1" lang="ja-JP" altLang="en-US" dirty="0" smtClean="0"/>
              <a:t>箇条書きテキスト（レベル</a:t>
            </a:r>
            <a:r>
              <a:rPr kumimoji="1" lang="en-US" altLang="ja-JP" dirty="0" smtClean="0"/>
              <a:t>3</a:t>
            </a:r>
            <a:r>
              <a:rPr kumimoji="1" lang="ja-JP" altLang="en-US" dirty="0" smtClean="0"/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269428315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目次：LA_16_9_On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中表紙タイトル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1952" y="1316568"/>
            <a:ext cx="8541120" cy="720000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lIns="36000" tIns="0" rIns="0" bIns="0" anchor="ctr" anchorCtr="0">
            <a:noAutofit/>
          </a:bodyPr>
          <a:lstStyle>
            <a:lvl1pPr marL="19433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33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179388">
              <a:spcBef>
                <a:spcPts val="0"/>
              </a:spcBef>
              <a:spcAft>
                <a:spcPts val="0"/>
              </a:spcAft>
            </a:pPr>
            <a:r>
              <a:rPr lang="ja-JP" altLang="en-US" sz="3033" dirty="0" smtClean="0">
                <a:solidFill>
                  <a:prstClr val="black"/>
                </a:solidFill>
              </a:rPr>
              <a:t>目次（</a:t>
            </a:r>
            <a:r>
              <a:rPr lang="en-US" altLang="ja-JP" sz="3033" dirty="0" smtClean="0">
                <a:solidFill>
                  <a:prstClr val="black"/>
                </a:solidFill>
              </a:rPr>
              <a:t>1</a:t>
            </a:r>
            <a:r>
              <a:rPr lang="ja-JP" altLang="en-US" sz="3033" dirty="0" smtClean="0">
                <a:solidFill>
                  <a:prstClr val="black"/>
                </a:solidFill>
              </a:rPr>
              <a:t>行以内／</a:t>
            </a:r>
            <a:r>
              <a:rPr lang="en-US" altLang="ja-JP" sz="3033" dirty="0" smtClean="0">
                <a:solidFill>
                  <a:prstClr val="black"/>
                </a:solidFill>
              </a:rPr>
              <a:t>28pt</a:t>
            </a:r>
            <a:r>
              <a:rPr lang="ja-JP" altLang="en-US" sz="3033" dirty="0" smtClean="0">
                <a:solidFill>
                  <a:prstClr val="black"/>
                </a:solidFill>
              </a:rPr>
              <a:t>）</a:t>
            </a:r>
          </a:p>
        </p:txBody>
      </p:sp>
      <p:sp>
        <p:nvSpPr>
          <p:cNvPr id="11" name="テキスト ボックス 10"/>
          <p:cNvSpPr txBox="1"/>
          <p:nvPr/>
        </p:nvSpPr>
        <p:spPr>
          <a:xfrm>
            <a:off x="390393" y="476251"/>
            <a:ext cx="9124399" cy="647700"/>
          </a:xfrm>
          <a:prstGeom prst="rect">
            <a:avLst/>
          </a:prstGeom>
          <a:noFill/>
        </p:spPr>
        <p:txBody>
          <a:bodyPr wrap="square" lIns="39000" tIns="39000" rIns="39000" bIns="39000" rtlCol="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3033" b="1" dirty="0" smtClean="0"/>
              <a:t>目次</a:t>
            </a:r>
          </a:p>
        </p:txBody>
      </p:sp>
      <p:sp>
        <p:nvSpPr>
          <p:cNvPr id="12" name="中表紙タイトル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71952" y="2121840"/>
            <a:ext cx="8541120" cy="720000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lIns="36000" tIns="0" rIns="0" bIns="0" anchor="ctr" anchorCtr="0">
            <a:noAutofit/>
          </a:bodyPr>
          <a:lstStyle>
            <a:lvl1pPr marL="19433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33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179388">
              <a:spcBef>
                <a:spcPts val="0"/>
              </a:spcBef>
              <a:spcAft>
                <a:spcPts val="0"/>
              </a:spcAft>
            </a:pPr>
            <a:r>
              <a:rPr lang="ja-JP" altLang="en-US" sz="3033" dirty="0" smtClean="0">
                <a:solidFill>
                  <a:prstClr val="black"/>
                </a:solidFill>
              </a:rPr>
              <a:t>目次（</a:t>
            </a:r>
            <a:r>
              <a:rPr lang="en-US" altLang="ja-JP" sz="3033" dirty="0" smtClean="0">
                <a:solidFill>
                  <a:prstClr val="black"/>
                </a:solidFill>
              </a:rPr>
              <a:t>1</a:t>
            </a:r>
            <a:r>
              <a:rPr lang="ja-JP" altLang="en-US" sz="3033" dirty="0" smtClean="0">
                <a:solidFill>
                  <a:prstClr val="black"/>
                </a:solidFill>
              </a:rPr>
              <a:t>行以内／</a:t>
            </a:r>
            <a:r>
              <a:rPr lang="en-US" altLang="ja-JP" sz="3033" dirty="0" smtClean="0">
                <a:solidFill>
                  <a:prstClr val="black"/>
                </a:solidFill>
              </a:rPr>
              <a:t>28pt</a:t>
            </a:r>
            <a:r>
              <a:rPr lang="ja-JP" altLang="en-US" sz="3033" dirty="0" smtClean="0">
                <a:solidFill>
                  <a:prstClr val="black"/>
                </a:solidFill>
              </a:rPr>
              <a:t>）</a:t>
            </a:r>
          </a:p>
        </p:txBody>
      </p:sp>
      <p:sp>
        <p:nvSpPr>
          <p:cNvPr id="13" name="中表紙タイトル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71952" y="2927112"/>
            <a:ext cx="8541120" cy="720000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lIns="36000" tIns="0" rIns="0" bIns="0" anchor="ctr" anchorCtr="0">
            <a:noAutofit/>
          </a:bodyPr>
          <a:lstStyle>
            <a:lvl1pPr marL="19433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33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179388">
              <a:spcBef>
                <a:spcPts val="0"/>
              </a:spcBef>
              <a:spcAft>
                <a:spcPts val="0"/>
              </a:spcAft>
            </a:pPr>
            <a:r>
              <a:rPr lang="ja-JP" altLang="en-US" sz="3033" dirty="0" smtClean="0">
                <a:solidFill>
                  <a:prstClr val="black"/>
                </a:solidFill>
              </a:rPr>
              <a:t>目次（</a:t>
            </a:r>
            <a:r>
              <a:rPr lang="en-US" altLang="ja-JP" sz="3033" dirty="0" smtClean="0">
                <a:solidFill>
                  <a:prstClr val="black"/>
                </a:solidFill>
              </a:rPr>
              <a:t>1</a:t>
            </a:r>
            <a:r>
              <a:rPr lang="ja-JP" altLang="en-US" sz="3033" dirty="0" smtClean="0">
                <a:solidFill>
                  <a:prstClr val="black"/>
                </a:solidFill>
              </a:rPr>
              <a:t>行以内／</a:t>
            </a:r>
            <a:r>
              <a:rPr lang="en-US" altLang="ja-JP" sz="3033" dirty="0" smtClean="0">
                <a:solidFill>
                  <a:prstClr val="black"/>
                </a:solidFill>
              </a:rPr>
              <a:t>28pt</a:t>
            </a:r>
            <a:r>
              <a:rPr lang="ja-JP" altLang="en-US" sz="3033" dirty="0" smtClean="0">
                <a:solidFill>
                  <a:prstClr val="black"/>
                </a:solidFill>
              </a:rPr>
              <a:t>）</a:t>
            </a:r>
          </a:p>
        </p:txBody>
      </p:sp>
      <p:sp>
        <p:nvSpPr>
          <p:cNvPr id="14" name="中表紙タイトル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71952" y="3732384"/>
            <a:ext cx="8541120" cy="720000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lIns="36000" tIns="0" rIns="0" bIns="0" anchor="ctr" anchorCtr="0">
            <a:noAutofit/>
          </a:bodyPr>
          <a:lstStyle>
            <a:lvl1pPr marL="19433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33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179388">
              <a:spcBef>
                <a:spcPts val="0"/>
              </a:spcBef>
              <a:spcAft>
                <a:spcPts val="0"/>
              </a:spcAft>
            </a:pPr>
            <a:r>
              <a:rPr lang="ja-JP" altLang="en-US" sz="3033" dirty="0" smtClean="0">
                <a:solidFill>
                  <a:prstClr val="black"/>
                </a:solidFill>
              </a:rPr>
              <a:t>目次（</a:t>
            </a:r>
            <a:r>
              <a:rPr lang="en-US" altLang="ja-JP" sz="3033" dirty="0" smtClean="0">
                <a:solidFill>
                  <a:prstClr val="black"/>
                </a:solidFill>
              </a:rPr>
              <a:t>1</a:t>
            </a:r>
            <a:r>
              <a:rPr lang="ja-JP" altLang="en-US" sz="3033" dirty="0" smtClean="0">
                <a:solidFill>
                  <a:prstClr val="black"/>
                </a:solidFill>
              </a:rPr>
              <a:t>行以内／</a:t>
            </a:r>
            <a:r>
              <a:rPr lang="en-US" altLang="ja-JP" sz="3033" dirty="0" smtClean="0">
                <a:solidFill>
                  <a:prstClr val="black"/>
                </a:solidFill>
              </a:rPr>
              <a:t>28pt</a:t>
            </a:r>
            <a:r>
              <a:rPr lang="ja-JP" altLang="en-US" sz="3033" dirty="0" smtClean="0">
                <a:solidFill>
                  <a:prstClr val="black"/>
                </a:solidFill>
              </a:rPr>
              <a:t>）</a:t>
            </a:r>
          </a:p>
        </p:txBody>
      </p:sp>
      <p:sp>
        <p:nvSpPr>
          <p:cNvPr id="15" name="中表紙タイトル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71952" y="4537656"/>
            <a:ext cx="8541120" cy="720000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lIns="36000" tIns="0" rIns="0" bIns="0" anchor="ctr" anchorCtr="0">
            <a:noAutofit/>
          </a:bodyPr>
          <a:lstStyle>
            <a:lvl1pPr marL="19433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33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179388">
              <a:spcBef>
                <a:spcPts val="0"/>
              </a:spcBef>
              <a:spcAft>
                <a:spcPts val="0"/>
              </a:spcAft>
            </a:pPr>
            <a:r>
              <a:rPr lang="ja-JP" altLang="en-US" sz="3033" dirty="0" smtClean="0">
                <a:solidFill>
                  <a:prstClr val="black"/>
                </a:solidFill>
              </a:rPr>
              <a:t>目次（</a:t>
            </a:r>
            <a:r>
              <a:rPr lang="en-US" altLang="ja-JP" sz="3033" dirty="0" smtClean="0">
                <a:solidFill>
                  <a:prstClr val="black"/>
                </a:solidFill>
              </a:rPr>
              <a:t>1</a:t>
            </a:r>
            <a:r>
              <a:rPr lang="ja-JP" altLang="en-US" sz="3033" dirty="0" smtClean="0">
                <a:solidFill>
                  <a:prstClr val="black"/>
                </a:solidFill>
              </a:rPr>
              <a:t>行以内／</a:t>
            </a:r>
            <a:r>
              <a:rPr lang="en-US" altLang="ja-JP" sz="3033" dirty="0" smtClean="0">
                <a:solidFill>
                  <a:prstClr val="black"/>
                </a:solidFill>
              </a:rPr>
              <a:t>28pt</a:t>
            </a:r>
            <a:r>
              <a:rPr lang="ja-JP" altLang="en-US" sz="3033" dirty="0" smtClean="0">
                <a:solidFill>
                  <a:prstClr val="black"/>
                </a:solidFill>
              </a:rPr>
              <a:t>）</a:t>
            </a:r>
          </a:p>
        </p:txBody>
      </p:sp>
      <p:sp>
        <p:nvSpPr>
          <p:cNvPr id="16" name="中表紙タイトル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71952" y="5342927"/>
            <a:ext cx="8541120" cy="720000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lIns="36000" tIns="0" rIns="0" bIns="0" anchor="ctr" anchorCtr="0">
            <a:noAutofit/>
          </a:bodyPr>
          <a:lstStyle>
            <a:lvl1pPr marL="19433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33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179388">
              <a:spcBef>
                <a:spcPts val="0"/>
              </a:spcBef>
              <a:spcAft>
                <a:spcPts val="0"/>
              </a:spcAft>
            </a:pPr>
            <a:r>
              <a:rPr lang="ja-JP" altLang="en-US" sz="3033" dirty="0" smtClean="0">
                <a:solidFill>
                  <a:prstClr val="black"/>
                </a:solidFill>
              </a:rPr>
              <a:t>目次（</a:t>
            </a:r>
            <a:r>
              <a:rPr lang="en-US" altLang="ja-JP" sz="3033" dirty="0" smtClean="0">
                <a:solidFill>
                  <a:prstClr val="black"/>
                </a:solidFill>
              </a:rPr>
              <a:t>1</a:t>
            </a:r>
            <a:r>
              <a:rPr lang="ja-JP" altLang="en-US" sz="3033" dirty="0" smtClean="0">
                <a:solidFill>
                  <a:prstClr val="black"/>
                </a:solidFill>
              </a:rPr>
              <a:t>行以内／</a:t>
            </a:r>
            <a:r>
              <a:rPr lang="en-US" altLang="ja-JP" sz="3033" dirty="0" smtClean="0">
                <a:solidFill>
                  <a:prstClr val="black"/>
                </a:solidFill>
              </a:rPr>
              <a:t>28pt</a:t>
            </a:r>
            <a:r>
              <a:rPr lang="ja-JP" altLang="en-US" sz="3033" dirty="0" smtClean="0">
                <a:solidFill>
                  <a:prstClr val="black"/>
                </a:solidFill>
              </a:rPr>
              <a:t>）</a:t>
            </a:r>
          </a:p>
        </p:txBody>
      </p:sp>
      <p:sp>
        <p:nvSpPr>
          <p:cNvPr id="17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90394" y="1316568"/>
            <a:ext cx="583279" cy="720000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txBody>
          <a:bodyPr lIns="0" tIns="0" rIns="0" bIns="0" anchor="ctr"/>
          <a:lstStyle>
            <a:lvl1pPr marL="0" indent="0" algn="ctr">
              <a:buFontTx/>
              <a:buNone/>
              <a:defRPr sz="3467" b="1">
                <a:ln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kumimoji="1" lang="en-US" altLang="ja-JP" dirty="0" smtClean="0"/>
              <a:t>X</a:t>
            </a:r>
            <a:endParaRPr kumimoji="1" lang="ja-JP" altLang="en-US" dirty="0"/>
          </a:p>
        </p:txBody>
      </p:sp>
      <p:sp>
        <p:nvSpPr>
          <p:cNvPr id="18" name="テキスト プレースホルダー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90394" y="2121840"/>
            <a:ext cx="583279" cy="720000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txBody>
          <a:bodyPr lIns="0" tIns="0" rIns="0" bIns="0" anchor="ctr"/>
          <a:lstStyle>
            <a:lvl1pPr marL="0" indent="0" algn="ctr">
              <a:buFontTx/>
              <a:buNone/>
              <a:defRPr sz="3467" b="1">
                <a:ln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kumimoji="1" lang="en-US" altLang="ja-JP" dirty="0" smtClean="0"/>
              <a:t>X</a:t>
            </a:r>
            <a:endParaRPr kumimoji="1" lang="ja-JP" altLang="en-US" dirty="0"/>
          </a:p>
        </p:txBody>
      </p:sp>
      <p:sp>
        <p:nvSpPr>
          <p:cNvPr id="19" name="テキスト プレースホルダー 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90394" y="2927112"/>
            <a:ext cx="583279" cy="720000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txBody>
          <a:bodyPr lIns="0" tIns="0" rIns="0" bIns="0" anchor="ctr"/>
          <a:lstStyle>
            <a:lvl1pPr marL="0" indent="0" algn="ctr">
              <a:buFontTx/>
              <a:buNone/>
              <a:defRPr sz="3467" b="1">
                <a:ln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kumimoji="1" lang="en-US" altLang="ja-JP" dirty="0" smtClean="0"/>
              <a:t>X</a:t>
            </a:r>
            <a:endParaRPr kumimoji="1" lang="ja-JP" altLang="en-US" dirty="0"/>
          </a:p>
        </p:txBody>
      </p:sp>
      <p:sp>
        <p:nvSpPr>
          <p:cNvPr id="20" name="テキスト プレースホルダー 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0394" y="3732384"/>
            <a:ext cx="583279" cy="720000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txBody>
          <a:bodyPr lIns="0" tIns="0" rIns="0" bIns="0" anchor="ctr"/>
          <a:lstStyle>
            <a:lvl1pPr marL="0" indent="0" algn="ctr">
              <a:buFontTx/>
              <a:buNone/>
              <a:defRPr sz="3467" b="1">
                <a:ln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kumimoji="1" lang="en-US" altLang="ja-JP" dirty="0" smtClean="0"/>
              <a:t>X</a:t>
            </a:r>
            <a:endParaRPr kumimoji="1" lang="ja-JP" altLang="en-US" dirty="0"/>
          </a:p>
        </p:txBody>
      </p:sp>
      <p:sp>
        <p:nvSpPr>
          <p:cNvPr id="21" name="テキスト プレースホルダー 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90394" y="4537656"/>
            <a:ext cx="583279" cy="720000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txBody>
          <a:bodyPr lIns="0" tIns="0" rIns="0" bIns="0" anchor="ctr"/>
          <a:lstStyle>
            <a:lvl1pPr marL="0" indent="0" algn="ctr">
              <a:buFontTx/>
              <a:buNone/>
              <a:defRPr sz="3467" b="1">
                <a:ln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kumimoji="1" lang="en-US" altLang="ja-JP" dirty="0" smtClean="0"/>
              <a:t>X</a:t>
            </a:r>
            <a:endParaRPr kumimoji="1" lang="ja-JP" altLang="en-US" dirty="0"/>
          </a:p>
        </p:txBody>
      </p:sp>
      <p:sp>
        <p:nvSpPr>
          <p:cNvPr id="22" name="テキスト プレースホルダー 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90394" y="5342927"/>
            <a:ext cx="583279" cy="720000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txBody>
          <a:bodyPr lIns="0" tIns="0" rIns="0" bIns="0" anchor="ctr"/>
          <a:lstStyle>
            <a:lvl1pPr marL="0" indent="0" algn="ctr">
              <a:buFontTx/>
              <a:buNone/>
              <a:defRPr sz="3467" b="1">
                <a:ln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kumimoji="1" lang="en-US" altLang="ja-JP" dirty="0" smtClean="0"/>
              <a:t>X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6135468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中表紙：LA_16_9_On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中表紙タイトル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71952" y="2121840"/>
            <a:ext cx="8541120" cy="720000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lIns="36000" tIns="0" rIns="0" bIns="0" anchor="ctr" anchorCtr="0">
            <a:noAutofit/>
          </a:bodyPr>
          <a:lstStyle>
            <a:lvl1pPr marL="19433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33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 smtClean="0"/>
              <a:t>中表紙（</a:t>
            </a:r>
            <a:r>
              <a:rPr lang="en-US" altLang="ja-JP" dirty="0" smtClean="0"/>
              <a:t>28pt</a:t>
            </a:r>
            <a:r>
              <a:rPr lang="ja-JP" altLang="en-US" dirty="0" smtClean="0"/>
              <a:t>／太字）</a:t>
            </a:r>
            <a:endParaRPr lang="ja-JP" altLang="en-US" dirty="0"/>
          </a:p>
        </p:txBody>
      </p:sp>
      <p:sp>
        <p:nvSpPr>
          <p:cNvPr id="17" name="テキスト プレースホルダー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90394" y="2121840"/>
            <a:ext cx="583279" cy="720000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txBody>
          <a:bodyPr lIns="0" tIns="0" rIns="0" bIns="0" anchor="ctr"/>
          <a:lstStyle>
            <a:lvl1pPr marL="0" indent="0" algn="ctr">
              <a:buFontTx/>
              <a:buNone/>
              <a:defRPr sz="3467" b="1">
                <a:ln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kumimoji="1" lang="en-US" altLang="ja-JP" dirty="0" smtClean="0"/>
              <a:t>X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397141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外部向け免責事項：LA_16_9_On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455717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(基本版)20160408_クライアント資料用／配布資料テンプレート／ヨ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コンテンツ プレースホルダー 8"/>
          <p:cNvSpPr>
            <a:spLocks noGrp="1"/>
          </p:cNvSpPr>
          <p:nvPr>
            <p:ph sz="quarter" idx="13"/>
          </p:nvPr>
        </p:nvSpPr>
        <p:spPr>
          <a:xfrm>
            <a:off x="417512" y="1557338"/>
            <a:ext cx="9071487" cy="4751982"/>
          </a:xfrm>
          <a:prstGeom prst="rect">
            <a:avLst/>
          </a:prstGeom>
        </p:spPr>
        <p:txBody>
          <a:bodyPr>
            <a:normAutofit/>
          </a:bodyPr>
          <a:lstStyle>
            <a:lvl2pPr marL="0" indent="0">
              <a:buNone/>
              <a:defRPr sz="1600"/>
            </a:lvl2pPr>
            <a:lvl3pPr>
              <a:defRPr sz="1800"/>
            </a:lvl3pPr>
            <a:lvl4pPr>
              <a:defRPr sz="1800"/>
            </a:lvl4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349" fontAlgn="auto">
              <a:spcBef>
                <a:spcPts val="0"/>
              </a:spcBef>
              <a:spcAft>
                <a:spcPts val="0"/>
              </a:spcAft>
            </a:pPr>
            <a:endParaRPr kumimoji="1" lang="en-GB" altLang="ja-JP" dirty="0"/>
          </a:p>
        </p:txBody>
      </p:sp>
      <p:sp>
        <p:nvSpPr>
          <p:cNvPr id="11" name="タイトル 4"/>
          <p:cNvSpPr>
            <a:spLocks noGrp="1"/>
          </p:cNvSpPr>
          <p:nvPr>
            <p:ph type="title" hasCustomPrompt="1"/>
          </p:nvPr>
        </p:nvSpPr>
        <p:spPr>
          <a:xfrm>
            <a:off x="417000" y="152400"/>
            <a:ext cx="9072000" cy="636000"/>
          </a:xfrm>
        </p:spPr>
        <p:txBody>
          <a:bodyPr/>
          <a:lstStyle/>
          <a:p>
            <a:r>
              <a:rPr lang="ja-JP" altLang="en-US" dirty="0" smtClean="0"/>
              <a:t>項番・項目</a:t>
            </a:r>
            <a:r>
              <a:rPr lang="en-US" altLang="ja-JP" dirty="0" smtClean="0"/>
              <a:t>(</a:t>
            </a:r>
            <a:r>
              <a:rPr lang="ja-JP" altLang="en-US" dirty="0" smtClean="0"/>
              <a:t>文字数はスライド横幅の中心まで</a:t>
            </a:r>
            <a:r>
              <a:rPr lang="en-US" altLang="ja-JP" dirty="0" smtClean="0"/>
              <a:t>)</a:t>
            </a:r>
            <a:br>
              <a:rPr lang="en-US" altLang="ja-JP" dirty="0" smtClean="0"/>
            </a:br>
            <a:r>
              <a:rPr kumimoji="1" lang="ja-JP" altLang="en-US" dirty="0" smtClean="0"/>
              <a:t>キーメッセージ</a:t>
            </a:r>
            <a:r>
              <a:rPr kumimoji="1" lang="en-US" altLang="ja-JP" dirty="0" smtClean="0"/>
              <a:t>:</a:t>
            </a:r>
            <a:r>
              <a:rPr kumimoji="1" lang="ja-JP" altLang="en-US" dirty="0" smtClean="0"/>
              <a:t>（スライドで一番伝えたいこと</a:t>
            </a:r>
            <a:r>
              <a:rPr kumimoji="1" lang="en-US" altLang="ja-JP" dirty="0" smtClean="0"/>
              <a:t>1</a:t>
            </a:r>
            <a:r>
              <a:rPr kumimoji="1" lang="ja-JP" altLang="en-US" dirty="0" smtClean="0"/>
              <a:t>行</a:t>
            </a:r>
            <a:r>
              <a:rPr kumimoji="1" lang="en-US" altLang="ja-JP" dirty="0" smtClean="0"/>
              <a:t>*</a:t>
            </a:r>
            <a:r>
              <a:rPr kumimoji="1" lang="ja-JP" altLang="en-US" dirty="0" smtClean="0"/>
              <a:t>名詞・体言止め不可）</a:t>
            </a:r>
            <a:endParaRPr kumimoji="1" lang="ja-JP" altLang="en-US" dirty="0"/>
          </a:p>
        </p:txBody>
      </p:sp>
      <p:sp>
        <p:nvSpPr>
          <p:cNvPr id="106" name="テキスト プレースホルダー 6"/>
          <p:cNvSpPr>
            <a:spLocks noGrp="1"/>
          </p:cNvSpPr>
          <p:nvPr>
            <p:ph type="body" sz="quarter" idx="12" hasCustomPrompt="1"/>
          </p:nvPr>
        </p:nvSpPr>
        <p:spPr>
          <a:xfrm>
            <a:off x="417000" y="1016000"/>
            <a:ext cx="9072504" cy="432000"/>
          </a:xfrm>
          <a:prstGeom prst="rect">
            <a:avLst/>
          </a:prstGeom>
        </p:spPr>
        <p:txBody>
          <a:bodyPr wrap="none" anchor="ctr">
            <a:normAutofit/>
          </a:bodyPr>
          <a:lstStyle>
            <a:lvl1pPr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： </a:t>
            </a:r>
            <a:r>
              <a:rPr kumimoji="1" lang="en-US" altLang="ja-JP" dirty="0" smtClean="0"/>
              <a:t>18pt</a:t>
            </a:r>
            <a:r>
              <a:rPr kumimoji="1" lang="ja-JP" altLang="en-US" dirty="0" err="1" smtClean="0"/>
              <a:t>、</a:t>
            </a:r>
            <a:r>
              <a:rPr kumimoji="1" lang="en-US" altLang="ja-JP" dirty="0" smtClean="0"/>
              <a:t>1</a:t>
            </a:r>
            <a:r>
              <a:rPr kumimoji="1" lang="ja-JP" altLang="en-US" dirty="0" smtClean="0"/>
              <a:t>行</a:t>
            </a:r>
            <a:r>
              <a:rPr kumimoji="1" lang="en-US" altLang="ja-JP" dirty="0" smtClean="0"/>
              <a:t>(</a:t>
            </a:r>
            <a:r>
              <a:rPr kumimoji="1" lang="ja-JP" altLang="en-US" dirty="0" smtClean="0"/>
              <a:t>ワーキングエリア内のコンテンツを説明する表題を入れる</a:t>
            </a:r>
            <a:r>
              <a:rPr kumimoji="1" lang="en-US" altLang="ja-JP" dirty="0" smtClean="0"/>
              <a:t>)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26572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補足版)コンテンツ左右20160408_クライアント資料用／配布資料テンプレート／ヨ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349" fontAlgn="auto">
              <a:spcBef>
                <a:spcPts val="0"/>
              </a:spcBef>
              <a:spcAft>
                <a:spcPts val="0"/>
              </a:spcAft>
            </a:pPr>
            <a:endParaRPr kumimoji="1" lang="en-GB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>
          <a:xfrm>
            <a:off x="410400" y="6588002"/>
            <a:ext cx="180000" cy="169200"/>
          </a:xfrm>
          <a:prstGeom prst="rect">
            <a:avLst/>
          </a:prstGeom>
        </p:spPr>
        <p:txBody>
          <a:bodyPr/>
          <a:lstStyle/>
          <a:p>
            <a:pPr defTabSz="914349" fontAlgn="auto">
              <a:spcBef>
                <a:spcPts val="0"/>
              </a:spcBef>
              <a:spcAft>
                <a:spcPts val="0"/>
              </a:spcAft>
            </a:pPr>
            <a:fld id="{00CF35F9-5879-42A9-8B76-81836FFCFE60}" type="slidenum">
              <a:rPr kumimoji="1" lang="ja-JP" altLang="en-US" smtClean="0"/>
              <a:pPr defTabSz="914349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11" name="タイトル 4"/>
          <p:cNvSpPr>
            <a:spLocks noGrp="1"/>
          </p:cNvSpPr>
          <p:nvPr>
            <p:ph type="title" hasCustomPrompt="1"/>
          </p:nvPr>
        </p:nvSpPr>
        <p:spPr>
          <a:xfrm>
            <a:off x="417000" y="152400"/>
            <a:ext cx="9072000" cy="636000"/>
          </a:xfrm>
        </p:spPr>
        <p:txBody>
          <a:bodyPr/>
          <a:lstStyle/>
          <a:p>
            <a:r>
              <a:rPr lang="ja-JP" altLang="en-US" dirty="0" smtClean="0"/>
              <a:t>項番・項目</a:t>
            </a:r>
            <a:r>
              <a:rPr lang="en-US" altLang="ja-JP" dirty="0" smtClean="0"/>
              <a:t>(</a:t>
            </a:r>
            <a:r>
              <a:rPr lang="ja-JP" altLang="en-US" dirty="0" smtClean="0"/>
              <a:t>文字数はスライド横幅の中心まで</a:t>
            </a:r>
            <a:r>
              <a:rPr lang="en-US" altLang="ja-JP" dirty="0" smtClean="0"/>
              <a:t>)</a:t>
            </a:r>
            <a:br>
              <a:rPr lang="en-US" altLang="ja-JP" dirty="0" smtClean="0"/>
            </a:br>
            <a:r>
              <a:rPr kumimoji="1" lang="ja-JP" altLang="en-US" dirty="0" smtClean="0"/>
              <a:t>キーメッセージ</a:t>
            </a:r>
            <a:r>
              <a:rPr kumimoji="1" lang="en-US" altLang="ja-JP" dirty="0" smtClean="0"/>
              <a:t>:</a:t>
            </a:r>
            <a:r>
              <a:rPr kumimoji="1" lang="ja-JP" altLang="en-US" dirty="0" smtClean="0"/>
              <a:t>（スライドで一番伝えたいこと</a:t>
            </a:r>
            <a:r>
              <a:rPr kumimoji="1" lang="en-US" altLang="ja-JP" dirty="0" smtClean="0"/>
              <a:t>1</a:t>
            </a:r>
            <a:r>
              <a:rPr kumimoji="1" lang="ja-JP" altLang="en-US" dirty="0" smtClean="0"/>
              <a:t>行</a:t>
            </a:r>
            <a:r>
              <a:rPr kumimoji="1" lang="en-US" altLang="ja-JP" dirty="0" smtClean="0"/>
              <a:t>*</a:t>
            </a:r>
            <a:r>
              <a:rPr kumimoji="1" lang="ja-JP" altLang="en-US" dirty="0" smtClean="0"/>
              <a:t>名詞・体言止め不可）</a:t>
            </a:r>
            <a:endParaRPr kumimoji="1" lang="ja-JP" altLang="en-US" dirty="0"/>
          </a:p>
        </p:txBody>
      </p:sp>
      <p:sp>
        <p:nvSpPr>
          <p:cNvPr id="12" name="テキスト プレースホルダー 5"/>
          <p:cNvSpPr>
            <a:spLocks noGrp="1"/>
          </p:cNvSpPr>
          <p:nvPr>
            <p:ph type="body" sz="quarter" idx="13" hasCustomPrompt="1"/>
          </p:nvPr>
        </p:nvSpPr>
        <p:spPr>
          <a:xfrm>
            <a:off x="417000" y="908720"/>
            <a:ext cx="9072000" cy="648072"/>
          </a:xfrm>
          <a:prstGeom prst="rect">
            <a:avLst/>
          </a:prstGeom>
        </p:spPr>
        <p:txBody>
          <a:bodyPr vert="horz" lIns="71996" tIns="0" rIns="71996" bIns="0" rtlCol="0">
            <a:noAutofit/>
          </a:bodyPr>
          <a:lstStyle>
            <a:lvl1pPr marL="0" marR="0" indent="0" algn="l" defTabSz="914349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altLang="ja-JP" sz="2000" baseline="0" dirty="0" smtClean="0">
                <a:cs typeface="Arial" pitchFamily="34" charset="0"/>
              </a:defRPr>
            </a:lvl1pPr>
          </a:lstStyle>
          <a:p>
            <a:pPr marL="0" marR="0" lvl="0" indent="0" algn="l" defTabSz="914349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ja-JP" altLang="en-US" dirty="0" smtClean="0"/>
              <a:t>本文を入力</a:t>
            </a:r>
            <a:r>
              <a:rPr lang="en-US" altLang="ja-JP" dirty="0" smtClean="0"/>
              <a:t>(</a:t>
            </a:r>
            <a:r>
              <a:rPr lang="ja-JP" altLang="en-US" dirty="0" smtClean="0"/>
              <a:t>キーメッセージを補足する内容＜</a:t>
            </a:r>
            <a:r>
              <a:rPr lang="en-US" altLang="ja-JP" dirty="0" smtClean="0"/>
              <a:t>2</a:t>
            </a:r>
            <a:r>
              <a:rPr lang="ja-JP" altLang="en-US" dirty="0" smtClean="0"/>
              <a:t>行以内＞</a:t>
            </a:r>
            <a:r>
              <a:rPr lang="en-US" altLang="ja-JP" dirty="0" smtClean="0"/>
              <a:t>)</a:t>
            </a:r>
          </a:p>
        </p:txBody>
      </p:sp>
      <p:sp>
        <p:nvSpPr>
          <p:cNvPr id="106" name="テキスト プレースホルダー 6"/>
          <p:cNvSpPr>
            <a:spLocks noGrp="1"/>
          </p:cNvSpPr>
          <p:nvPr>
            <p:ph type="body" sz="quarter" idx="14" hasCustomPrompt="1"/>
          </p:nvPr>
        </p:nvSpPr>
        <p:spPr>
          <a:xfrm>
            <a:off x="417000" y="1559914"/>
            <a:ext cx="4320000" cy="432000"/>
          </a:xfrm>
          <a:prstGeom prst="rect">
            <a:avLst/>
          </a:prstGeom>
        </p:spPr>
        <p:txBody>
          <a:bodyPr wrap="none" anchor="ctr">
            <a:normAutofit/>
          </a:bodyPr>
          <a:lstStyle>
            <a:lvl1pPr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： </a:t>
            </a:r>
            <a:r>
              <a:rPr kumimoji="1" lang="en-US" altLang="ja-JP" dirty="0" smtClean="0"/>
              <a:t>18pt</a:t>
            </a:r>
            <a:r>
              <a:rPr kumimoji="1" lang="ja-JP" altLang="en-US" dirty="0" err="1" smtClean="0"/>
              <a:t>、</a:t>
            </a:r>
            <a:r>
              <a:rPr kumimoji="1" lang="en-US" altLang="ja-JP" dirty="0" smtClean="0"/>
              <a:t>1</a:t>
            </a:r>
            <a:r>
              <a:rPr kumimoji="1" lang="ja-JP" altLang="en-US" dirty="0" smtClean="0"/>
              <a:t>行</a:t>
            </a:r>
            <a:endParaRPr kumimoji="1" lang="ja-JP" altLang="en-US" dirty="0"/>
          </a:p>
        </p:txBody>
      </p:sp>
      <p:sp>
        <p:nvSpPr>
          <p:cNvPr id="107" name="テキスト プレースホルダー 8"/>
          <p:cNvSpPr>
            <a:spLocks noGrp="1"/>
          </p:cNvSpPr>
          <p:nvPr>
            <p:ph type="body" sz="quarter" idx="15" hasCustomPrompt="1"/>
          </p:nvPr>
        </p:nvSpPr>
        <p:spPr>
          <a:xfrm>
            <a:off x="5025009" y="1559914"/>
            <a:ext cx="4320479" cy="43200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： </a:t>
            </a:r>
            <a:r>
              <a:rPr kumimoji="1" lang="en-US" altLang="ja-JP" dirty="0" smtClean="0"/>
              <a:t>18pt</a:t>
            </a:r>
            <a:r>
              <a:rPr kumimoji="1" lang="ja-JP" altLang="en-US" dirty="0" err="1" smtClean="0"/>
              <a:t>、</a:t>
            </a:r>
            <a:r>
              <a:rPr kumimoji="1" lang="en-US" altLang="ja-JP" dirty="0" smtClean="0"/>
              <a:t>1</a:t>
            </a:r>
            <a:r>
              <a:rPr kumimoji="1" lang="ja-JP" altLang="en-US" dirty="0" smtClean="0"/>
              <a:t>行</a:t>
            </a:r>
            <a:endParaRPr kumimoji="1" lang="ja-JP" altLang="en-US" dirty="0"/>
          </a:p>
        </p:txBody>
      </p:sp>
      <p:sp>
        <p:nvSpPr>
          <p:cNvPr id="108" name="コンテンツ プレースホルダー 8"/>
          <p:cNvSpPr>
            <a:spLocks noGrp="1"/>
          </p:cNvSpPr>
          <p:nvPr>
            <p:ph sz="quarter" idx="16"/>
          </p:nvPr>
        </p:nvSpPr>
        <p:spPr>
          <a:xfrm>
            <a:off x="417512" y="1988840"/>
            <a:ext cx="9071487" cy="4320480"/>
          </a:xfrm>
          <a:prstGeom prst="rect">
            <a:avLst/>
          </a:prstGeom>
        </p:spPr>
        <p:txBody>
          <a:bodyPr>
            <a:normAutofit/>
          </a:bodyPr>
          <a:lstStyle>
            <a:lvl2pPr marL="0" indent="0">
              <a:buNone/>
              <a:defRPr sz="1600"/>
            </a:lvl2pPr>
            <a:lvl3pPr>
              <a:defRPr sz="1800"/>
            </a:lvl3pPr>
            <a:lvl4pPr>
              <a:defRPr sz="1800"/>
            </a:lvl4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</p:txBody>
      </p:sp>
      <p:sp>
        <p:nvSpPr>
          <p:cNvPr id="109" name="Text Box 7"/>
          <p:cNvSpPr txBox="1">
            <a:spLocks noChangeArrowheads="1"/>
          </p:cNvSpPr>
          <p:nvPr userDrawn="1"/>
        </p:nvSpPr>
        <p:spPr bwMode="gray">
          <a:xfrm>
            <a:off x="5702400" y="6588002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marL="0" marR="0" indent="0" algn="r" defTabSz="914349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900" kern="1200" dirty="0" smtClean="0">
                <a:solidFill>
                  <a:schemeClr val="tx2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6. For information, contact Tohmatsu Innovation Co., Ltd.</a:t>
            </a:r>
          </a:p>
        </p:txBody>
      </p:sp>
    </p:spTree>
    <p:extLst>
      <p:ext uri="{BB962C8B-B14F-4D97-AF65-F5344CB8AC3E}">
        <p14:creationId xmlns:p14="http://schemas.microsoft.com/office/powerpoint/2010/main" val="16561680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中表紙1)20160408_クライアント資料用／配布資料テンプレート／ヨ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63454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3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7945040" cy="667409"/>
          </a:xfrm>
          <a:prstGeom prst="rect">
            <a:avLst/>
          </a:prstGeom>
          <a:noFill/>
          <a:ln>
            <a:noFill/>
          </a:ln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 smtClean="0"/>
              <a:t>中表紙タイトル：</a:t>
            </a:r>
            <a:r>
              <a:rPr lang="en-US" altLang="ja-JP" dirty="0" smtClean="0"/>
              <a:t>28pt</a:t>
            </a:r>
            <a:r>
              <a:rPr lang="ja-JP" altLang="en-US" dirty="0" smtClean="0"/>
              <a:t>太字</a:t>
            </a:r>
            <a:endParaRPr lang="ja-JP" altLang="en-US" dirty="0"/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10400" y="6588002"/>
            <a:ext cx="180000" cy="16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2" name="フッター プレースホルダー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5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中表紙2)20160408_クライアント資料用／配布資料テンプレート／ヨコ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4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10400" y="6588002"/>
            <a:ext cx="180000" cy="16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altLang="en-GB" dirty="0" smtClean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7945040" cy="667409"/>
          </a:xfrm>
          <a:prstGeom prst="rect">
            <a:avLst/>
          </a:prstGeom>
          <a:noFill/>
          <a:ln>
            <a:noFill/>
          </a:ln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 smtClean="0"/>
              <a:t>中表紙タイトル：</a:t>
            </a:r>
            <a:r>
              <a:rPr lang="en-US" altLang="ja-JP" dirty="0" smtClean="0"/>
              <a:t>28pt</a:t>
            </a:r>
            <a:r>
              <a:rPr lang="ja-JP" altLang="en-US" dirty="0" smtClean="0"/>
              <a:t>太字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04806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中表紙3)20160408_クライアント資料用／配布資料テンプレート／ヨコ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4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10400" y="6588002"/>
            <a:ext cx="180000" cy="16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altLang="en-GB" dirty="0" smtClean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7945040" cy="667409"/>
          </a:xfrm>
          <a:prstGeom prst="rect">
            <a:avLst/>
          </a:prstGeom>
          <a:noFill/>
          <a:ln>
            <a:noFill/>
          </a:ln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 smtClean="0"/>
              <a:t>中表紙タイトル：</a:t>
            </a:r>
            <a:r>
              <a:rPr lang="en-US" altLang="ja-JP" dirty="0" smtClean="0"/>
              <a:t>28pt</a:t>
            </a:r>
            <a:r>
              <a:rPr lang="ja-JP" altLang="en-US" dirty="0" smtClean="0"/>
              <a:t>太字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2303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中表紙4)20160408_クライアント資料用／配布資料テンプレート／ヨコ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4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10400" y="6588002"/>
            <a:ext cx="180000" cy="16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altLang="en-GB" dirty="0" smtClean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7945040" cy="667409"/>
          </a:xfrm>
          <a:prstGeom prst="rect">
            <a:avLst/>
          </a:prstGeom>
          <a:noFill/>
          <a:ln>
            <a:noFill/>
          </a:ln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 smtClean="0"/>
              <a:t>中表紙タイトル：</a:t>
            </a:r>
            <a:r>
              <a:rPr lang="en-US" altLang="ja-JP" dirty="0" smtClean="0"/>
              <a:t>28pt</a:t>
            </a:r>
            <a:r>
              <a:rPr lang="ja-JP" altLang="en-US" dirty="0" smtClean="0"/>
              <a:t>太字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19895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oleObject" Target="../embeddings/oleObject10.bin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tags" Target="../tags/tag11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vmlDrawing" Target="../drawings/vmlDrawing10.v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88300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99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 1"/>
          <p:cNvSpPr>
            <a:spLocks noGrp="1"/>
          </p:cNvSpPr>
          <p:nvPr userDrawn="1">
            <p:ph type="title"/>
          </p:nvPr>
        </p:nvSpPr>
        <p:spPr>
          <a:xfrm>
            <a:off x="417000" y="136802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 smtClean="0"/>
              <a:t>マスター タイトルの書式設定</a:t>
            </a:r>
            <a:endParaRPr kumimoji="1" lang="ja-JP" altLang="en-US" dirty="0"/>
          </a:p>
        </p:txBody>
      </p:sp>
      <p:sp>
        <p:nvSpPr>
          <p:cNvPr id="5" name="フッター プレースホルダ 4"/>
          <p:cNvSpPr>
            <a:spLocks noGrp="1"/>
          </p:cNvSpPr>
          <p:nvPr userDrawn="1">
            <p:ph type="ftr" sz="quarter" idx="3"/>
          </p:nvPr>
        </p:nvSpPr>
        <p:spPr>
          <a:xfrm>
            <a:off x="684002" y="6588002"/>
            <a:ext cx="4068000" cy="1692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defRPr kumimoji="1" lang="en-GB" altLang="ja-JP" sz="1100" smtClean="0">
                <a:solidFill>
                  <a:srgbClr val="B4B4B4"/>
                </a:solidFill>
                <a:latin typeface="+mj-lt"/>
                <a:ea typeface="+mj-ea"/>
              </a:defRPr>
            </a:lvl1pPr>
          </a:lstStyle>
          <a:p>
            <a:endParaRPr lang="en-US" dirty="0"/>
          </a:p>
        </p:txBody>
      </p:sp>
      <p:sp>
        <p:nvSpPr>
          <p:cNvPr id="110" name="テキスト プレースホルダー 109"/>
          <p:cNvSpPr>
            <a:spLocks noGrp="1"/>
          </p:cNvSpPr>
          <p:nvPr userDrawn="1"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1"/>
            <a:r>
              <a:rPr kumimoji="1" lang="ja-JP" altLang="en-US" dirty="0" smtClean="0"/>
              <a:t>第</a:t>
            </a:r>
            <a:r>
              <a:rPr kumimoji="1" lang="en-US" altLang="ja-JP" dirty="0" smtClean="0"/>
              <a:t>1</a:t>
            </a:r>
            <a:r>
              <a:rPr kumimoji="1" lang="ja-JP" altLang="en-US" dirty="0" smtClean="0"/>
              <a:t>レベル</a:t>
            </a:r>
          </a:p>
          <a:p>
            <a:pPr lvl="2"/>
            <a:r>
              <a:rPr kumimoji="1" lang="ja-JP" altLang="en-US" dirty="0" smtClean="0"/>
              <a:t>第</a:t>
            </a:r>
            <a:r>
              <a:rPr kumimoji="1" lang="en-US" altLang="ja-JP" dirty="0" smtClean="0"/>
              <a:t>2</a:t>
            </a:r>
            <a:r>
              <a:rPr kumimoji="1" lang="ja-JP" altLang="en-US" dirty="0" smtClean="0"/>
              <a:t>レベル</a:t>
            </a:r>
          </a:p>
          <a:p>
            <a:pPr lvl="3"/>
            <a:r>
              <a:rPr kumimoji="1" lang="ja-JP" altLang="en-US" dirty="0" smtClean="0"/>
              <a:t>第</a:t>
            </a:r>
            <a:r>
              <a:rPr kumimoji="1" lang="en-US" altLang="ja-JP" dirty="0" smtClean="0"/>
              <a:t>3</a:t>
            </a:r>
            <a:r>
              <a:rPr kumimoji="1" lang="ja-JP" altLang="en-US" dirty="0" smtClean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939368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913" r:id="rId2"/>
    <p:sldLayoutId id="2147483912" r:id="rId3"/>
    <p:sldLayoutId id="2147483898" r:id="rId4"/>
    <p:sldLayoutId id="2147483914" r:id="rId5"/>
    <p:sldLayoutId id="2147483908" r:id="rId6"/>
    <p:sldLayoutId id="2147483911" r:id="rId7"/>
    <p:sldLayoutId id="2147483909" r:id="rId8"/>
    <p:sldLayoutId id="2147483910" r:id="rId9"/>
    <p:sldLayoutId id="2147483893" r:id="rId10"/>
    <p:sldLayoutId id="2147483915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9" rtl="0" eaLnBrk="1" latinLnBrk="0" hangingPunct="1">
        <a:spcBef>
          <a:spcPct val="0"/>
        </a:spcBef>
        <a:buNone/>
        <a:defRPr kumimoji="1"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880" indent="-342880" algn="l" defTabSz="914349" rtl="0" eaLnBrk="1" latinLnBrk="0" hangingPunct="1">
        <a:lnSpc>
          <a:spcPct val="106000"/>
        </a:lnSpc>
        <a:spcBef>
          <a:spcPts val="864"/>
        </a:spcBef>
        <a:buFont typeface="Arial" pitchFamily="34" charset="0"/>
        <a:buNone/>
        <a:defRPr kumimoji="1"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123825" marR="0" indent="-123825" algn="just" defTabSz="914400" rtl="0" eaLnBrk="1" fontAlgn="ctr" latinLnBrk="0" hangingPunct="1">
        <a:lnSpc>
          <a:spcPct val="105000"/>
        </a:lnSpc>
        <a:spcBef>
          <a:spcPts val="3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2pPr>
      <a:lvl3pPr marL="273050" marR="0" indent="-117475" algn="just" defTabSz="914400" rtl="0" eaLnBrk="1" fontAlgn="ctr" latinLnBrk="0" hangingPunct="1">
        <a:lnSpc>
          <a:spcPct val="105000"/>
        </a:lnSpc>
        <a:spcBef>
          <a:spcPts val="3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3pPr>
      <a:lvl4pPr marL="412750" indent="-104775" algn="just" defTabSz="914349" rtl="0" eaLnBrk="1" fontAlgn="ctr" latinLnBrk="0" hangingPunct="1">
        <a:lnSpc>
          <a:spcPct val="105000"/>
        </a:lnSpc>
        <a:spcBef>
          <a:spcPts val="300"/>
        </a:spcBef>
        <a:spcAft>
          <a:spcPts val="0"/>
        </a:spcAft>
        <a:buSzPct val="100000"/>
        <a:buFont typeface="Arial" panose="020B0604020202020204" pitchFamily="34" charset="0"/>
        <a:buChar char="•"/>
        <a:defRPr kumimoji="1"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4pPr>
      <a:lvl5pPr marL="2057284" indent="-228587" algn="l" defTabSz="914349" rtl="0" eaLnBrk="1" latinLnBrk="0" hangingPunct="1">
        <a:spcBef>
          <a:spcPct val="20000"/>
        </a:spcBef>
        <a:buFont typeface="Arial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9" indent="-228587" algn="l" defTabSz="914349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7" algn="l" defTabSz="914349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8" indent="-228587" algn="l" defTabSz="914349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4" indent="-228587" algn="l" defTabSz="914349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349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5" algn="l" defTabSz="914349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9" algn="l" defTabSz="914349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4" algn="l" defTabSz="914349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7" algn="l" defTabSz="914349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2" algn="l" defTabSz="914349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6" algn="l" defTabSz="914349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2" algn="l" defTabSz="914349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5" algn="l" defTabSz="914349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sp>
        <p:nvSpPr>
          <p:cNvPr id="6" name="コピーライト"/>
          <p:cNvSpPr txBox="1">
            <a:spLocks noChangeArrowheads="1"/>
          </p:cNvSpPr>
          <p:nvPr/>
        </p:nvSpPr>
        <p:spPr bwMode="gray">
          <a:xfrm>
            <a:off x="5133004" y="6379640"/>
            <a:ext cx="4384327" cy="218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marL="0" marR="0" indent="0" algn="r" defTabSz="742864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67" kern="1200" dirty="0" smtClean="0">
                <a:solidFill>
                  <a:schemeClr val="tx1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9. For information, contact Learning Agency Co., Ltd.</a:t>
            </a:r>
            <a:endParaRPr lang="en-US" altLang="ja-JP" sz="867" kern="1200" dirty="0">
              <a:solidFill>
                <a:schemeClr val="tx1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8" name="&lt;Confidential&gt;タグ"/>
          <p:cNvSpPr txBox="1">
            <a:spLocks/>
          </p:cNvSpPr>
          <p:nvPr/>
        </p:nvSpPr>
        <p:spPr bwMode="auto">
          <a:xfrm>
            <a:off x="4498019" y="6379637"/>
            <a:ext cx="909973" cy="21801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accent6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kumimoji="1" lang="ja-JP" altLang="en-US" sz="975" dirty="0" smtClean="0">
                <a:solidFill>
                  <a:schemeClr val="accent5"/>
                </a:solidFill>
              </a:rPr>
              <a:t>＜</a:t>
            </a:r>
            <a:r>
              <a:rPr kumimoji="1" lang="en-US" altLang="ja-JP" sz="975" dirty="0" smtClean="0">
                <a:solidFill>
                  <a:schemeClr val="accent5"/>
                </a:solidFill>
              </a:rPr>
              <a:t>Confidential</a:t>
            </a:r>
            <a:r>
              <a:rPr kumimoji="1" lang="ja-JP" altLang="en-US" sz="975" dirty="0" smtClean="0">
                <a:solidFill>
                  <a:schemeClr val="accent5"/>
                </a:solidFill>
              </a:rPr>
              <a:t>＞</a:t>
            </a:r>
            <a:endParaRPr kumimoji="1" lang="ja-JP" altLang="en-US" sz="975" dirty="0">
              <a:solidFill>
                <a:schemeClr val="accent5"/>
              </a:solidFill>
            </a:endParaRPr>
          </a:p>
        </p:txBody>
      </p:sp>
      <p:graphicFrame>
        <p:nvGraphicFramePr>
          <p:cNvPr id="10" name="オブジェクト 9" hidden="1"/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1788300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54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5" name="オブジェクト 4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0061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  <p:sldLayoutId id="2147483937" r:id="rId12"/>
    <p:sldLayoutId id="2147483938" r:id="rId13"/>
    <p:sldLayoutId id="2147483939" r:id="rId14"/>
    <p:sldLayoutId id="2147483940" r:id="rId15"/>
    <p:sldLayoutId id="2147483941" r:id="rId16"/>
    <p:sldLayoutId id="2147483942" r:id="rId17"/>
    <p:sldLayoutId id="2147483943" r:id="rId18"/>
    <p:sldLayoutId id="2147483944" r:id="rId19"/>
    <p:sldLayoutId id="2147483945" r:id="rId20"/>
    <p:sldLayoutId id="2147483946" r:id="rId21"/>
    <p:sldLayoutId id="2147483947" r:id="rId22"/>
    <p:sldLayoutId id="2147483948" r:id="rId23"/>
    <p:sldLayoutId id="2147483949" r:id="rId24"/>
    <p:sldLayoutId id="2147483950" r:id="rId25"/>
    <p:sldLayoutId id="2147483951" r:id="rId26"/>
    <p:sldLayoutId id="2147483952" r:id="rId27"/>
    <p:sldLayoutId id="2147483953" r:id="rId28"/>
    <p:sldLayoutId id="2147483954" r:id="rId29"/>
    <p:sldLayoutId id="2147483955" r:id="rId30"/>
    <p:sldLayoutId id="2147483956" r:id="rId31"/>
    <p:sldLayoutId id="2147483957" r:id="rId32"/>
    <p:sldLayoutId id="2147483958" r:id="rId33"/>
    <p:sldLayoutId id="2147483959" r:id="rId3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04784" rtl="0" eaLnBrk="1" latinLnBrk="0" hangingPunct="1">
        <a:spcBef>
          <a:spcPct val="0"/>
        </a:spcBef>
        <a:buNone/>
        <a:defRPr kumimoji="1" sz="2600" b="1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371464" marR="0" indent="-371464" algn="l" defTabSz="804784" rtl="0" eaLnBrk="1" fontAlgn="auto" latinLnBrk="0" hangingPunct="1">
        <a:lnSpc>
          <a:spcPct val="100000"/>
        </a:lnSpc>
        <a:spcBef>
          <a:spcPts val="489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sz="195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88916" marR="0" indent="-288916" algn="l" defTabSz="804784" rtl="0" eaLnBrk="1" fontAlgn="auto" latinLnBrk="0" hangingPunct="1">
        <a:lnSpc>
          <a:spcPct val="100000"/>
        </a:lnSpc>
        <a:spcBef>
          <a:spcPts val="489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95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16682" marR="0" indent="0" algn="l" defTabSz="804784" rtl="0" eaLnBrk="1" fontAlgn="auto" latinLnBrk="0" hangingPunct="1">
        <a:lnSpc>
          <a:spcPct val="100000"/>
        </a:lnSpc>
        <a:spcBef>
          <a:spcPts val="244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lang="en-US" sz="1733" b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736469" marR="0" indent="-371464" algn="l" defTabSz="804784" rtl="0" eaLnBrk="1" fontAlgn="auto" latinLnBrk="0" hangingPunct="1">
        <a:lnSpc>
          <a:spcPct val="100000"/>
        </a:lnSpc>
        <a:spcBef>
          <a:spcPts val="164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733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561317" indent="-247642" algn="l" defTabSz="702789" rtl="0" eaLnBrk="1" latinLnBrk="0" hangingPunct="1">
        <a:spcBef>
          <a:spcPts val="0"/>
        </a:spcBef>
        <a:spcAft>
          <a:spcPts val="880"/>
        </a:spcAft>
        <a:buClrTx/>
        <a:buSzPct val="100000"/>
        <a:buFont typeface="Arial" panose="020B0604020202020204" pitchFamily="34" charset="0"/>
        <a:buChar char="•"/>
        <a:tabLst/>
        <a:defRPr kumimoji="1" lang="en-US" sz="97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468928" indent="-155253" algn="l" defTabSz="804784" rtl="0" eaLnBrk="1" latinLnBrk="0" hangingPunct="1">
        <a:spcBef>
          <a:spcPts val="0"/>
        </a:spcBef>
        <a:spcAft>
          <a:spcPts val="880"/>
        </a:spcAft>
        <a:buFont typeface="Verdana" panose="020B0604030504040204" pitchFamily="34" charset="0"/>
        <a:buChar char="−"/>
        <a:defRPr kumimoji="1" sz="1056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468928" indent="-155253" algn="l" defTabSz="804784" rtl="0" eaLnBrk="1" latinLnBrk="0" hangingPunct="1">
        <a:spcBef>
          <a:spcPts val="0"/>
        </a:spcBef>
        <a:spcAft>
          <a:spcPts val="880"/>
        </a:spcAft>
        <a:buFont typeface="Verdana" panose="020B0604030504040204" pitchFamily="34" charset="0"/>
        <a:buChar char="−"/>
        <a:defRPr kumimoji="1" sz="1056" kern="1200">
          <a:solidFill>
            <a:schemeClr val="tx1"/>
          </a:solidFill>
          <a:latin typeface="+mn-lt"/>
          <a:ea typeface="+mn-ea"/>
          <a:cs typeface="+mn-cs"/>
        </a:defRPr>
      </a:lvl7pPr>
      <a:lvl8pPr marL="468928" indent="-155253" algn="l" defTabSz="804784" rtl="0" eaLnBrk="1" latinLnBrk="0" hangingPunct="1">
        <a:spcBef>
          <a:spcPts val="0"/>
        </a:spcBef>
        <a:spcAft>
          <a:spcPts val="880"/>
        </a:spcAft>
        <a:buFont typeface="Verdana" panose="020B0604030504040204" pitchFamily="34" charset="0"/>
        <a:buChar char="−"/>
        <a:defRPr kumimoji="1" sz="1056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468928" indent="-155253" algn="l" defTabSz="804784" rtl="0" eaLnBrk="1" latinLnBrk="0" hangingPunct="1">
        <a:spcBef>
          <a:spcPts val="0"/>
        </a:spcBef>
        <a:spcAft>
          <a:spcPts val="880"/>
        </a:spcAft>
        <a:buFont typeface="Verdana" panose="020B0604030504040204" pitchFamily="34" charset="0"/>
        <a:buChar char="−"/>
        <a:defRPr kumimoji="1" sz="1056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4784" rtl="0" eaLnBrk="1" latinLnBrk="0" hangingPunct="1">
        <a:defRPr kumimoji="1" sz="1585" kern="1200">
          <a:solidFill>
            <a:schemeClr val="tx1"/>
          </a:solidFill>
          <a:latin typeface="+mn-lt"/>
          <a:ea typeface="+mn-ea"/>
          <a:cs typeface="+mn-cs"/>
        </a:defRPr>
      </a:lvl1pPr>
      <a:lvl2pPr marL="402393" algn="l" defTabSz="804784" rtl="0" eaLnBrk="1" latinLnBrk="0" hangingPunct="1">
        <a:defRPr kumimoji="1" sz="1585" kern="1200">
          <a:solidFill>
            <a:schemeClr val="tx1"/>
          </a:solidFill>
          <a:latin typeface="+mn-lt"/>
          <a:ea typeface="+mn-ea"/>
          <a:cs typeface="+mn-cs"/>
        </a:defRPr>
      </a:lvl2pPr>
      <a:lvl3pPr marL="804784" algn="l" defTabSz="804784" rtl="0" eaLnBrk="1" latinLnBrk="0" hangingPunct="1">
        <a:defRPr kumimoji="1" sz="1585" kern="1200">
          <a:solidFill>
            <a:schemeClr val="tx1"/>
          </a:solidFill>
          <a:latin typeface="+mn-lt"/>
          <a:ea typeface="+mn-ea"/>
          <a:cs typeface="+mn-cs"/>
        </a:defRPr>
      </a:lvl3pPr>
      <a:lvl4pPr marL="1207176" algn="l" defTabSz="804784" rtl="0" eaLnBrk="1" latinLnBrk="0" hangingPunct="1">
        <a:defRPr kumimoji="1" sz="1585" kern="1200">
          <a:solidFill>
            <a:schemeClr val="tx1"/>
          </a:solidFill>
          <a:latin typeface="+mn-lt"/>
          <a:ea typeface="+mn-ea"/>
          <a:cs typeface="+mn-cs"/>
        </a:defRPr>
      </a:lvl4pPr>
      <a:lvl5pPr marL="1609567" algn="l" defTabSz="804784" rtl="0" eaLnBrk="1" latinLnBrk="0" hangingPunct="1">
        <a:defRPr kumimoji="1" sz="1585" kern="1200">
          <a:solidFill>
            <a:schemeClr val="tx1"/>
          </a:solidFill>
          <a:latin typeface="+mn-lt"/>
          <a:ea typeface="+mn-ea"/>
          <a:cs typeface="+mn-cs"/>
        </a:defRPr>
      </a:lvl5pPr>
      <a:lvl6pPr marL="2011960" algn="l" defTabSz="804784" rtl="0" eaLnBrk="1" latinLnBrk="0" hangingPunct="1">
        <a:defRPr kumimoji="1" sz="1585" kern="1200">
          <a:solidFill>
            <a:schemeClr val="tx1"/>
          </a:solidFill>
          <a:latin typeface="+mn-lt"/>
          <a:ea typeface="+mn-ea"/>
          <a:cs typeface="+mn-cs"/>
        </a:defRPr>
      </a:lvl6pPr>
      <a:lvl7pPr marL="2414352" algn="l" defTabSz="804784" rtl="0" eaLnBrk="1" latinLnBrk="0" hangingPunct="1">
        <a:defRPr kumimoji="1" sz="1585" kern="1200">
          <a:solidFill>
            <a:schemeClr val="tx1"/>
          </a:solidFill>
          <a:latin typeface="+mn-lt"/>
          <a:ea typeface="+mn-ea"/>
          <a:cs typeface="+mn-cs"/>
        </a:defRPr>
      </a:lvl7pPr>
      <a:lvl8pPr marL="2816744" algn="l" defTabSz="804784" rtl="0" eaLnBrk="1" latinLnBrk="0" hangingPunct="1">
        <a:defRPr kumimoji="1" sz="1585" kern="1200">
          <a:solidFill>
            <a:schemeClr val="tx1"/>
          </a:solidFill>
          <a:latin typeface="+mn-lt"/>
          <a:ea typeface="+mn-ea"/>
          <a:cs typeface="+mn-cs"/>
        </a:defRPr>
      </a:lvl8pPr>
      <a:lvl9pPr marL="3219133" algn="l" defTabSz="804784" rtl="0" eaLnBrk="1" latinLnBrk="0" hangingPunct="1">
        <a:defRPr kumimoji="1" sz="15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pos="2880">
          <p15:clr>
            <a:srgbClr val="A4A3A4"/>
          </p15:clr>
        </p15:guide>
        <p15:guide id="1" orient="horz" pos="225">
          <p15:clr>
            <a:srgbClr val="A4A3A4"/>
          </p15:clr>
        </p15:guide>
        <p15:guide id="2" pos="2776">
          <p15:clr>
            <a:srgbClr val="A4A3A4"/>
          </p15:clr>
        </p15:guide>
        <p15:guide id="3" pos="2984">
          <p15:clr>
            <a:srgbClr val="A4A3A4"/>
          </p15:clr>
        </p15:guide>
        <p15:guide id="4" pos="5535">
          <p15:clr>
            <a:srgbClr val="000000"/>
          </p15:clr>
        </p15:guide>
        <p15:guide id="5" pos="227">
          <p15:clr>
            <a:srgbClr val="000000"/>
          </p15:clr>
        </p15:guide>
        <p15:guide id="6" orient="horz" pos="531">
          <p15:clr>
            <a:srgbClr val="A4A3A4"/>
          </p15:clr>
        </p15:guide>
        <p15:guide id="7" orient="horz" pos="622">
          <p15:clr>
            <a:srgbClr val="000000"/>
          </p15:clr>
        </p15:guide>
        <p15:guide id="8" orient="horz" pos="849">
          <p15:clr>
            <a:srgbClr val="A4A3A4"/>
          </p15:clr>
        </p15:guide>
        <p15:guide id="9" orient="horz" pos="2924">
          <p15:clr>
            <a:srgbClr val="000000"/>
          </p15:clr>
        </p15:guide>
        <p15:guide id="10" orient="horz" pos="3117">
          <p15:clr>
            <a:srgbClr val="A4A3A4"/>
          </p15:clr>
        </p15:guide>
        <p15:guide id="12" orient="horz" pos="2040">
          <p15:clr>
            <a:srgbClr val="A4A3A4"/>
          </p15:clr>
        </p15:guide>
        <p15:guide id="13" orient="horz" pos="1812">
          <p15:clr>
            <a:srgbClr val="A4A3A4"/>
          </p15:clr>
        </p15:guide>
        <p15:guide id="14" orient="horz" pos="1733">
          <p15:clr>
            <a:srgbClr val="A4A3A4"/>
          </p15:clr>
        </p15:guide>
        <p15:guide id="15" orient="horz" pos="301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表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013947"/>
              </p:ext>
            </p:extLst>
          </p:nvPr>
        </p:nvGraphicFramePr>
        <p:xfrm>
          <a:off x="632520" y="980136"/>
          <a:ext cx="8776079" cy="53285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40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63491"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50" charset="-128"/>
                        </a:rPr>
                        <a:t>　</a:t>
                      </a:r>
                    </a:p>
                  </a:txBody>
                  <a:tcPr marL="8915" marR="8915" marT="891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対象</a:t>
                      </a:r>
                    </a:p>
                  </a:txBody>
                  <a:tcPr marL="8915" marR="8915" marT="8915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概要</a:t>
                      </a:r>
                    </a:p>
                  </a:txBody>
                  <a:tcPr marL="8915" marR="8915" marT="8915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研修</a:t>
                      </a:r>
                      <a:endParaRPr lang="en-US" altLang="ja-JP" sz="1300" b="1" i="0" u="none" strike="noStrike" dirty="0" smtClean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テーマ①</a:t>
                      </a:r>
                      <a:endParaRPr lang="ja-JP" altLang="en-US" sz="1300" b="1" i="0" u="none" strike="noStrike" dirty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8915" marR="8915" marT="8915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研修</a:t>
                      </a:r>
                      <a:endParaRPr lang="en-US" altLang="ja-JP" sz="1300" b="1" i="0" u="none" strike="noStrike" dirty="0" smtClean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テーマ</a:t>
                      </a:r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②</a:t>
                      </a:r>
                    </a:p>
                  </a:txBody>
                  <a:tcPr marL="8915" marR="8915" marT="8915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研修</a:t>
                      </a:r>
                      <a:endParaRPr lang="en-US" altLang="ja-JP" sz="1300" b="1" i="0" u="none" strike="noStrike" dirty="0" smtClean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テーマ</a:t>
                      </a:r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③</a:t>
                      </a:r>
                    </a:p>
                  </a:txBody>
                  <a:tcPr marL="8915" marR="8915" marT="8915" marB="0" anchor="ctr"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4183"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提案型</a:t>
                      </a:r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営業</a:t>
                      </a:r>
                      <a:endParaRPr lang="en-US" altLang="ja-JP" sz="1300" b="1" i="0" u="none" strike="noStrike" dirty="0" smtClean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パック</a:t>
                      </a:r>
                      <a:endParaRPr lang="ja-JP" altLang="en-US" sz="1300" b="1" i="0" u="none" strike="noStrike" dirty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8915" marR="8915" marT="891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提案型営業を行っている</a:t>
                      </a:r>
                      <a:r>
                        <a:rPr lang="en-US" altLang="ja-JP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/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これから行う予定の方</a:t>
                      </a:r>
                    </a:p>
                  </a:txBody>
                  <a:tcPr marL="90000" marR="90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提案型営業に必要な要素を学び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、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l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提案型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営業に欠かせないプレゼンテーション力の向上の方法について学ぶ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［法人営業向け］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提案型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営業のコツ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プレゼンテーション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入門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&lt;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デリバリー力向上編</a:t>
                      </a:r>
                      <a:r>
                        <a:rPr lang="en-US" altLang="ja-JP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&gt;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プレゼンテーション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入門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&lt;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シナリオ作成編</a:t>
                      </a:r>
                      <a:r>
                        <a:rPr lang="en-US" altLang="ja-JP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&gt;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4183"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営業</a:t>
                      </a:r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サポート</a:t>
                      </a:r>
                      <a:endParaRPr lang="en-US" altLang="ja-JP" sz="1300" b="1" i="0" u="none" strike="noStrike" dirty="0" smtClean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パック</a:t>
                      </a:r>
                      <a:endParaRPr lang="ja-JP" altLang="en-US" sz="1300" b="1" i="0" u="none" strike="noStrike" dirty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8915" marR="8915" marT="891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営業サポート業務に従事している</a:t>
                      </a:r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50" charset="-128"/>
                        </a:rPr>
                        <a:t>/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これから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従事する予定の方</a:t>
                      </a:r>
                    </a:p>
                  </a:txBody>
                  <a:tcPr marL="90000" marR="90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営業サポートの基本を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学んだ上で、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l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サポート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業務に必要な契約書、与信について学ぶ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営業事務の基本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契約書の見方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・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作り方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の基本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回収不能を防ぐための危ない会社の見分け方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94183"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バックオフィス</a:t>
                      </a:r>
                      <a:endParaRPr lang="en-US" altLang="ja-JP" sz="1300" b="1" i="0" u="none" strike="noStrike" dirty="0" smtClean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向け</a:t>
                      </a:r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パック</a:t>
                      </a:r>
                    </a:p>
                  </a:txBody>
                  <a:tcPr marL="8915" marR="8915" marT="891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管理部門、予備部門などバックオフィスの業務に従事している</a:t>
                      </a:r>
                      <a:r>
                        <a:rPr lang="en-US" altLang="ja-JP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50" charset="-128"/>
                        </a:rPr>
                        <a:t>/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これから従事する予定の方</a:t>
                      </a:r>
                    </a:p>
                  </a:txBody>
                  <a:tcPr marL="90000" marR="90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バックオフィス業務に必要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な経費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削減・</a:t>
                      </a:r>
                      <a:r>
                        <a:rPr lang="en-US" altLang="ja-JP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50" charset="-128"/>
                        </a:rPr>
                        <a:t>5S</a:t>
                      </a:r>
                      <a:r>
                        <a:rPr lang="ja-JP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、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そしてマニュアルの見方・作り方について学ぶ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［事務部門向け］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経費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削減のコツ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［製造業向け］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5S</a:t>
                      </a:r>
                      <a:r>
                        <a:rPr lang="en-US" altLang="ja-JP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(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整理・整頓・清掃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・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清潔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・しつけ</a:t>
                      </a:r>
                      <a:r>
                        <a:rPr lang="en-US" altLang="ja-JP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50" charset="-128"/>
                        </a:rPr>
                        <a:t>)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の基本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マニュアル作成の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基本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&lt;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作成する際の考え方</a:t>
                      </a:r>
                      <a:r>
                        <a:rPr lang="en-US" altLang="ja-JP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&gt;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94183"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経理</a:t>
                      </a:r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担当者</a:t>
                      </a:r>
                      <a:endParaRPr lang="en-US" altLang="ja-JP" sz="1300" b="1" i="0" u="none" strike="noStrike" dirty="0" smtClean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向けパック</a:t>
                      </a:r>
                      <a:endParaRPr lang="ja-JP" altLang="en-US" sz="1300" b="1" i="0" u="none" strike="noStrike" dirty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8915" marR="8915" marT="891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経理の業務に従事している</a:t>
                      </a:r>
                      <a:r>
                        <a:rPr lang="en-US" altLang="ja-JP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50" charset="-128"/>
                        </a:rPr>
                        <a:t>/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これから従事する予定の方</a:t>
                      </a:r>
                    </a:p>
                  </a:txBody>
                  <a:tcPr marL="90000" marR="90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経理業務の全体像と日常における業務内容、そして経理担当者として必須の決算書の読み方・経営分析の基礎について学ぶ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【</a:t>
                      </a:r>
                      <a:r>
                        <a:rPr lang="zh-TW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基礎</a:t>
                      </a:r>
                      <a:r>
                        <a:rPr lang="en-US" altLang="zh-TW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】</a:t>
                      </a:r>
                      <a:r>
                        <a:rPr lang="zh-TW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経理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実</a:t>
                      </a:r>
                      <a:r>
                        <a:rPr lang="zh-TW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務</a:t>
                      </a:r>
                      <a:endParaRPr lang="zh-TW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【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初級</a:t>
                      </a:r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】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経営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数字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【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中級</a:t>
                      </a:r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】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経営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数字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94183"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与信管</a:t>
                      </a:r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理</a:t>
                      </a:r>
                      <a:endParaRPr lang="en-US" altLang="ja-JP" sz="1300" b="1" i="0" u="none" strike="noStrike" dirty="0" smtClean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パック</a:t>
                      </a:r>
                      <a:endParaRPr lang="ja-JP" altLang="en-US" sz="1300" b="1" i="0" u="none" strike="noStrike" dirty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8915" marR="8915" marT="891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法人向けの営業をしている会社で、与信管理の業務に従事している</a:t>
                      </a:r>
                      <a:r>
                        <a:rPr lang="en-US" altLang="ja-JP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50" charset="-128"/>
                        </a:rPr>
                        <a:t>/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これから従事する予定の方</a:t>
                      </a:r>
                    </a:p>
                  </a:txBody>
                  <a:tcPr marL="90000" marR="90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与信管理に必要となる会社の見方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に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l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ついて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定量的側面と定性的側面の両面から学ぶ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【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初級</a:t>
                      </a:r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】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経営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数字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回収不能を防ぐための危ない会社の見分け方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【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中級</a:t>
                      </a:r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】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経営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数字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94183"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仕組み</a:t>
                      </a:r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構築</a:t>
                      </a:r>
                      <a:endParaRPr lang="en-US" altLang="ja-JP" sz="1300" b="1" i="0" u="none" strike="noStrike" dirty="0" smtClean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パック</a:t>
                      </a:r>
                      <a:endParaRPr lang="ja-JP" altLang="en-US" sz="1300" b="1" i="0" u="none" strike="noStrike" dirty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8915" marR="8915" marT="891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組織の仕組み作りの業務に従事している</a:t>
                      </a:r>
                      <a:r>
                        <a:rPr lang="en-US" altLang="ja-JP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50" charset="-128"/>
                        </a:rPr>
                        <a:t>/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これから従事する予定の方</a:t>
                      </a:r>
                    </a:p>
                  </a:txBody>
                  <a:tcPr marL="90000" marR="90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仕組みづくりの前に知っておくべきヒューマンエラーの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原因と対策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について学ぶ。そして実際に仕組みを構築する方法</a:t>
                      </a:r>
                      <a:r>
                        <a:rPr lang="en-US" altLang="ja-JP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50" charset="-128"/>
                        </a:rPr>
                        <a:t>(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標準化・マニュアル</a:t>
                      </a:r>
                      <a:r>
                        <a:rPr lang="en-US" altLang="ja-JP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50" charset="-128"/>
                        </a:rPr>
                        <a:t>)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について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l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学ぶ</a:t>
                      </a:r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はじめての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ヒューマンエラー</a:t>
                      </a:r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標準化の進め方の基本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マニュアル作成の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基本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&lt;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作成する際の考え方</a:t>
                      </a:r>
                      <a:r>
                        <a:rPr lang="en-US" altLang="ja-JP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&gt;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7" name="タイトル 1"/>
          <p:cNvSpPr txBox="1">
            <a:spLocks/>
          </p:cNvSpPr>
          <p:nvPr/>
        </p:nvSpPr>
        <p:spPr>
          <a:xfrm>
            <a:off x="417000" y="-27384"/>
            <a:ext cx="9072000" cy="63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49" rtl="0" eaLnBrk="1" latinLnBrk="0" hangingPunct="1">
              <a:spcBef>
                <a:spcPct val="0"/>
              </a:spcBef>
              <a:buNone/>
              <a:defRPr kumimoji="1"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ja-JP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《</a:t>
            </a:r>
            <a:r>
              <a:rPr lang="ja-JP" altLang="en-US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課題別</a:t>
            </a:r>
            <a:r>
              <a:rPr lang="en-US" altLang="ja-JP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》</a:t>
            </a:r>
            <a:r>
              <a:rPr lang="ja-JP" altLang="en-US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研修受講パック </a:t>
            </a:r>
            <a:r>
              <a:rPr lang="ja-JP" altLang="en-US" sz="20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（</a:t>
            </a:r>
            <a:r>
              <a:rPr lang="en-US" altLang="ja-JP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1/2</a:t>
            </a:r>
            <a:r>
              <a:rPr lang="ja-JP" altLang="en-US" sz="20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）</a:t>
            </a:r>
          </a:p>
        </p:txBody>
      </p:sp>
      <p:sp>
        <p:nvSpPr>
          <p:cNvPr id="2" name="正方形/長方形 1"/>
          <p:cNvSpPr/>
          <p:nvPr/>
        </p:nvSpPr>
        <p:spPr>
          <a:xfrm>
            <a:off x="632188" y="6430476"/>
            <a:ext cx="792088" cy="144314"/>
          </a:xfrm>
          <a:prstGeom prst="rect">
            <a:avLst/>
          </a:prstGeom>
          <a:noFill/>
          <a:ln w="28575" cap="rnd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en-US" altLang="ja-JP" sz="800" dirty="0" smtClean="0"/>
              <a:t>Ver.901</a:t>
            </a:r>
            <a:endParaRPr kumimoji="1" lang="ja-JP" altLang="en-US" sz="800" dirty="0" smtClean="0"/>
          </a:p>
        </p:txBody>
      </p:sp>
    </p:spTree>
    <p:extLst>
      <p:ext uri="{BB962C8B-B14F-4D97-AF65-F5344CB8AC3E}">
        <p14:creationId xmlns:p14="http://schemas.microsoft.com/office/powerpoint/2010/main" val="1978696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4238672"/>
              </p:ext>
            </p:extLst>
          </p:nvPr>
        </p:nvGraphicFramePr>
        <p:xfrm>
          <a:off x="632522" y="989334"/>
          <a:ext cx="8778658" cy="53193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66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70474"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50" charset="-128"/>
                        </a:rPr>
                        <a:t>　</a:t>
                      </a:r>
                    </a:p>
                  </a:txBody>
                  <a:tcPr marL="8923" marR="8923" marT="8923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対象</a:t>
                      </a:r>
                    </a:p>
                  </a:txBody>
                  <a:tcPr marL="8923" marR="8923" marT="8923" marB="0" anchor="ctr">
                    <a:lnL w="12700" cmpd="sng">
                      <a:noFill/>
                    </a:lnL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概要</a:t>
                      </a:r>
                    </a:p>
                  </a:txBody>
                  <a:tcPr marL="8923" marR="8923" marT="8923" marB="0" anchor="ctr"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研修</a:t>
                      </a:r>
                      <a:endParaRPr lang="en-US" altLang="ja-JP" sz="1300" b="1" i="0" u="none" strike="noStrike" dirty="0" smtClean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テーマ</a:t>
                      </a:r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①</a:t>
                      </a:r>
                    </a:p>
                  </a:txBody>
                  <a:tcPr marL="8923" marR="8923" marT="8923" marB="0" anchor="ctr"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研修</a:t>
                      </a:r>
                      <a:endParaRPr lang="en-US" altLang="ja-JP" sz="1300" b="1" i="0" u="none" strike="noStrike" dirty="0" smtClean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テーマ</a:t>
                      </a:r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②</a:t>
                      </a:r>
                    </a:p>
                  </a:txBody>
                  <a:tcPr marL="8923" marR="8923" marT="8923" marB="0" anchor="ctr"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研修</a:t>
                      </a:r>
                      <a:endParaRPr lang="en-US" altLang="ja-JP" sz="1300" b="1" i="0" u="none" strike="noStrike" dirty="0" smtClean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テーマ</a:t>
                      </a:r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③</a:t>
                      </a:r>
                    </a:p>
                  </a:txBody>
                  <a:tcPr marL="8923" marR="8923" marT="8923" marB="0" anchor="ctr"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04028"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作業</a:t>
                      </a:r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効率化</a:t>
                      </a:r>
                      <a:endParaRPr lang="en-US" altLang="ja-JP" sz="1300" b="1" i="0" u="none" strike="noStrike" dirty="0" smtClean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パック</a:t>
                      </a:r>
                      <a:endParaRPr lang="ja-JP" altLang="en-US" sz="1300" b="1" i="0" u="none" strike="noStrike" dirty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8923" marR="8923" marT="8923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作業を効率化したいと考えている方</a:t>
                      </a:r>
                    </a:p>
                  </a:txBody>
                  <a:tcPr marL="90000" marR="90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作業効率化に必要な「仕事の進め方」「タイムマネジメント」について学ぶ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仕事の進め方の基本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タイムマネジメント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覚悟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の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タイムマネジメント</a:t>
                      </a:r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04028"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後輩</a:t>
                      </a:r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指導</a:t>
                      </a:r>
                      <a:endParaRPr lang="en-US" altLang="ja-JP" sz="1300" b="1" i="0" u="none" strike="noStrike" dirty="0" smtClean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パック</a:t>
                      </a:r>
                      <a:endParaRPr lang="ja-JP" altLang="en-US" sz="1300" b="1" i="0" u="none" strike="noStrike" dirty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8923" marR="8923" marT="8923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後輩指導力を向上させたいと考えている方</a:t>
                      </a:r>
                    </a:p>
                  </a:txBody>
                  <a:tcPr marL="90000" marR="90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部下に対してより良い指導が実際に行えるよう、コーチングスキルから現場での</a:t>
                      </a:r>
                      <a:r>
                        <a:rPr lang="en-US" altLang="ja-JP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50" charset="-128"/>
                        </a:rPr>
                        <a:t>OJT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・フィードバック面談の方法まで幅広く学ぶ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【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基礎</a:t>
                      </a:r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】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部下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を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持つ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管理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職のため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の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コーチング</a:t>
                      </a:r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[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現場指導者向け</a:t>
                      </a:r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]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　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体系的に学ぶ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OJT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の進め方</a:t>
                      </a:r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[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管理職向け</a:t>
                      </a:r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]</a:t>
                      </a:r>
                    </a:p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人事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評価の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基本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&lt;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ィードバック面談編</a:t>
                      </a:r>
                      <a:r>
                        <a:rPr lang="en-US" altLang="ja-JP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&gt;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8776"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プレゼン</a:t>
                      </a:r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資料</a:t>
                      </a:r>
                      <a:endParaRPr lang="en-US" altLang="ja-JP" sz="1300" b="1" i="0" u="none" strike="noStrike" dirty="0" smtClean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作成</a:t>
                      </a:r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パック</a:t>
                      </a:r>
                    </a:p>
                  </a:txBody>
                  <a:tcPr marL="8923" marR="8923" marT="8923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効果的なプレゼン資料の作成方法について学びたい方</a:t>
                      </a:r>
                    </a:p>
                  </a:txBody>
                  <a:tcPr marL="90000" marR="90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プレゼン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の資料作成に必要な、シナリオやスライド作成の基本、ビジネス文書におけるわかりやすい文章の書き方について学ぶ</a:t>
                      </a:r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プレゼンテーション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入門</a:t>
                      </a:r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/>
                      </a:r>
                      <a:b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</a:br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&lt;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シナリオ作成編</a:t>
                      </a:r>
                      <a:r>
                        <a:rPr lang="en-US" altLang="ja-JP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&gt;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478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スライド作成の基本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ビジネス・ライティング</a:t>
                      </a:r>
                    </a:p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＜わかりやすい文章の書き方編＞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04028"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基礎</a:t>
                      </a:r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コミュニケーション力</a:t>
                      </a:r>
                      <a:endParaRPr lang="en-US" altLang="ja-JP" sz="1300" b="1" i="0" u="none" strike="noStrike" dirty="0" smtClean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向上</a:t>
                      </a:r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パック</a:t>
                      </a:r>
                    </a:p>
                  </a:txBody>
                  <a:tcPr marL="8923" marR="8923" marT="8923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職場でのコミュニケーション力を今よりも向上させたい方</a:t>
                      </a:r>
                    </a:p>
                  </a:txBody>
                  <a:tcPr marL="90000" marR="90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コミュニケーションの第一ステップである挨拶・コミュニケーションの取り方を学ぶ。その上で、話の聞き方を実践を通して学ぶ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ja-JP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『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体感型</a:t>
                      </a:r>
                      <a:r>
                        <a:rPr lang="en-US" altLang="ja-JP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』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挨拶研修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［若手向け］</a:t>
                      </a:r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/>
                      </a:r>
                      <a:b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</a:b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オーラルコミュニケーションの全体像</a:t>
                      </a:r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【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基礎</a:t>
                      </a:r>
                      <a:r>
                        <a:rPr lang="en-US" altLang="ja-JP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】</a:t>
                      </a:r>
                    </a:p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ポジティブ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・リスニング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04028"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セルフ</a:t>
                      </a:r>
                      <a:endParaRPr lang="en-US" altLang="ja-JP" sz="1300" b="1" i="0" u="none" strike="noStrike" dirty="0" smtClean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マネジメント</a:t>
                      </a:r>
                      <a:endParaRPr lang="en-US" altLang="ja-JP" sz="1300" b="1" i="0" u="none" strike="noStrike" dirty="0" smtClean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パック</a:t>
                      </a:r>
                      <a:endParaRPr lang="ja-JP" altLang="en-US" sz="1300" b="1" i="0" u="none" strike="noStrike" dirty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8923" marR="8923" marT="8923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自己管理の方法を学びたいと考えている方</a:t>
                      </a:r>
                    </a:p>
                  </a:txBody>
                  <a:tcPr marL="90000" marR="90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自己管理のための仕事の進め方、ハイパフォーマーの姿勢を学ぶ。その後、やるべき仕事に注力するための業務改善ついて学ぶ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仕事の進め方の基本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ハイパフォーマー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が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実践する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セルフマネジメント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研修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覚悟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の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タイムマネジメント</a:t>
                      </a:r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04028"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若手・中堅</a:t>
                      </a:r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の</a:t>
                      </a:r>
                      <a:endParaRPr lang="en-US" altLang="ja-JP" sz="1300" b="1" i="0" u="none" strike="noStrike" dirty="0" smtClean="0">
                        <a:solidFill>
                          <a:srgbClr val="FFFFFF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マインド</a:t>
                      </a:r>
                      <a:r>
                        <a:rPr lang="ja-JP" alt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醸成パック</a:t>
                      </a:r>
                    </a:p>
                  </a:txBody>
                  <a:tcPr marL="8923" marR="8923" marT="8923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より高い意識を持って仕事に取り組みたいと考えている若手・中堅社員の方</a:t>
                      </a:r>
                    </a:p>
                  </a:txBody>
                  <a:tcPr marL="90000" marR="90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自分に求められているビジネススキルについて理解し、今後歩むキャリアについて向き合う。そのあと、ハイパフォーマーの姿勢からどのように行動を変えるべきか、について学ぶ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若手社員に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必要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なビジネススキルの全体像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［若手向け］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キャリアデザイン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研修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ハイパフォーマー</a:t>
                      </a:r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が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実践する</a:t>
                      </a:r>
                      <a:endParaRPr lang="en-US" altLang="ja-JP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 rtl="0" fontAlgn="ctr"/>
                      <a:r>
                        <a:rPr lang="ja-JP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セルフマネジメント</a:t>
                      </a:r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研修</a:t>
                      </a:r>
                    </a:p>
                  </a:txBody>
                  <a:tcPr marL="90000" marR="90000" marT="36000" marB="36000" anchor="ctr">
                    <a:lnL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タイトル 1"/>
          <p:cNvSpPr txBox="1">
            <a:spLocks/>
          </p:cNvSpPr>
          <p:nvPr/>
        </p:nvSpPr>
        <p:spPr>
          <a:xfrm>
            <a:off x="417000" y="-27384"/>
            <a:ext cx="9072000" cy="63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49" rtl="0" eaLnBrk="1" latinLnBrk="0" hangingPunct="1">
              <a:spcBef>
                <a:spcPct val="0"/>
              </a:spcBef>
              <a:buNone/>
              <a:defRPr kumimoji="1"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ja-JP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《</a:t>
            </a:r>
            <a:r>
              <a:rPr lang="ja-JP" altLang="en-US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課題別</a:t>
            </a:r>
            <a:r>
              <a:rPr lang="en-US" altLang="ja-JP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》</a:t>
            </a:r>
            <a:r>
              <a:rPr lang="ja-JP" altLang="en-US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研修受講パック </a:t>
            </a:r>
            <a:r>
              <a:rPr lang="ja-JP" altLang="en-US" sz="20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（</a:t>
            </a:r>
            <a:r>
              <a:rPr lang="en-US" altLang="ja-JP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2/2</a:t>
            </a:r>
            <a:r>
              <a:rPr lang="ja-JP" altLang="en-US" sz="20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）</a:t>
            </a:r>
          </a:p>
        </p:txBody>
      </p:sp>
      <p:sp>
        <p:nvSpPr>
          <p:cNvPr id="5" name="正方形/長方形 4"/>
          <p:cNvSpPr/>
          <p:nvPr/>
        </p:nvSpPr>
        <p:spPr>
          <a:xfrm>
            <a:off x="632188" y="6430476"/>
            <a:ext cx="792088" cy="144314"/>
          </a:xfrm>
          <a:prstGeom prst="rect">
            <a:avLst/>
          </a:prstGeom>
          <a:noFill/>
          <a:ln w="28575" cap="rnd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en-US" altLang="ja-JP" sz="800" dirty="0" smtClean="0"/>
              <a:t>Ver.901</a:t>
            </a:r>
            <a:endParaRPr kumimoji="1" lang="ja-JP" altLang="en-US" sz="800" dirty="0" smtClean="0"/>
          </a:p>
        </p:txBody>
      </p:sp>
    </p:spTree>
    <p:extLst>
      <p:ext uri="{BB962C8B-B14F-4D97-AF65-F5344CB8AC3E}">
        <p14:creationId xmlns:p14="http://schemas.microsoft.com/office/powerpoint/2010/main" val="346935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60408_クライアント資料用／配布資料テンプレート／ヨコ">
  <a:themeElements>
    <a:clrScheme name="ユーザー定義 1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/>
      <a:lstStyle>
        <a:defPPr algn="ctr">
          <a:defRPr kumimoji="1" sz="1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プレゼンテーション1" id="{A52A8488-7995-4E1D-B743-572B07982A8A}" vid="{24868BBC-816D-4E82-9230-C1D1D17C9F3F}"/>
    </a:ext>
  </a:extLst>
</a:theme>
</file>

<file path=ppt/theme/theme2.xml><?xml version="1.0" encoding="utf-8"?>
<a:theme xmlns:a="http://schemas.openxmlformats.org/drawingml/2006/main" name="テーマ2">
  <a:themeElements>
    <a:clrScheme name="ラーニングエージェンシー0130">
      <a:dk1>
        <a:srgbClr val="000000"/>
      </a:dk1>
      <a:lt1>
        <a:srgbClr val="FFFFFF"/>
      </a:lt1>
      <a:dk2>
        <a:srgbClr val="898989"/>
      </a:dk2>
      <a:lt2>
        <a:srgbClr val="00B3C4"/>
      </a:lt2>
      <a:accent1>
        <a:srgbClr val="FFF100"/>
      </a:accent1>
      <a:accent2>
        <a:srgbClr val="00B3C4"/>
      </a:accent2>
      <a:accent3>
        <a:srgbClr val="898989"/>
      </a:accent3>
      <a:accent4>
        <a:srgbClr val="53565A"/>
      </a:accent4>
      <a:accent5>
        <a:srgbClr val="97999B"/>
      </a:accent5>
      <a:accent6>
        <a:srgbClr val="D0D0CE"/>
      </a:accent6>
      <a:hlink>
        <a:srgbClr val="000000"/>
      </a:hlink>
      <a:folHlink>
        <a:srgbClr val="97999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 w="28575" cap="rnd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 sz="2800" smtClean="0"/>
        </a:defPPr>
      </a:lstStyle>
    </a:spDef>
    <a:lnDef>
      <a:spPr>
        <a:ln w="28575" cap="rnd">
          <a:solidFill>
            <a:schemeClr val="accent6"/>
          </a:solidFill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 anchor="t" anchorCtr="0">
        <a:noAutofit/>
      </a:bodyPr>
      <a:lstStyle>
        <a:defPPr>
          <a:spcBef>
            <a:spcPts val="0"/>
          </a:spcBef>
          <a:spcAft>
            <a:spcPts val="0"/>
          </a:spcAft>
          <a:buSzPct val="100000"/>
          <a:defRPr kumimoji="1" sz="28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テーマ2" id="{E294DF6F-4A9F-40BB-946B-1C4C30B0CF10}" vid="{5F8009B9-C7EA-4C87-B3F4-50C26359C37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8aac__x660e_ xmlns="ee1ab9bf-6fba-4470-ae98-e5144ebfb4bc">グループ共通&gt;デロイト トーマツ グループテンプレート</_x8aac__x660e_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6F6F7E4EBADD9E47A9E0A7126DCCDCF8" ma:contentTypeVersion="2" ma:contentTypeDescription="新しいドキュメントを作成します。" ma:contentTypeScope="" ma:versionID="a76adcc3be6af679a31c6befe8eb0aaf">
  <xsd:schema xmlns:xsd="http://www.w3.org/2001/XMLSchema" xmlns:xs="http://www.w3.org/2001/XMLSchema" xmlns:p="http://schemas.microsoft.com/office/2006/metadata/properties" xmlns:ns2="ee1ab9bf-6fba-4470-ae98-e5144ebfb4bc" targetNamespace="http://schemas.microsoft.com/office/2006/metadata/properties" ma:root="true" ma:fieldsID="c7c5ac149a267c296877c86c9000b2bf" ns2:_="">
    <xsd:import namespace="ee1ab9bf-6fba-4470-ae98-e5144ebfb4bc"/>
    <xsd:element name="properties">
      <xsd:complexType>
        <xsd:sequence>
          <xsd:element name="documentManagement">
            <xsd:complexType>
              <xsd:all>
                <xsd:element ref="ns2:_x8aac__x660e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1ab9bf-6fba-4470-ae98-e5144ebfb4bc" elementFormDefault="qualified">
    <xsd:import namespace="http://schemas.microsoft.com/office/2006/documentManagement/types"/>
    <xsd:import namespace="http://schemas.microsoft.com/office/infopath/2007/PartnerControls"/>
    <xsd:element name="_x8aac__x660e_" ma:index="8" nillable="true" ma:displayName="説明" ma:internalName="_x8aac__x660e_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E411E97-AA90-4D6A-96FF-D9B0A5EA96B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DC3BB7C-AD28-4986-8BAD-25E59FD0A8B0}">
  <ds:schemaRefs>
    <ds:schemaRef ds:uri="http://schemas.microsoft.com/office/2006/metadata/properties"/>
    <ds:schemaRef ds:uri="ee1ab9bf-6fba-4470-ae98-e5144ebfb4bc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A54E3C2-8E72-474F-8B79-84C25281D8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e1ab9bf-6fba-4470-ae98-e5144ebfb4b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クライアント資料用</Template>
  <TotalTime>0</TotalTime>
  <Words>784</Words>
  <Application>Microsoft Office PowerPoint</Application>
  <PresentationFormat>A4 210 x 297 mm</PresentationFormat>
  <Paragraphs>137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0" baseType="lpstr">
      <vt:lpstr>ＭＳ Ｐゴシック</vt:lpstr>
      <vt:lpstr>メイリオ</vt:lpstr>
      <vt:lpstr>Arial</vt:lpstr>
      <vt:lpstr>Verdana</vt:lpstr>
      <vt:lpstr>Wingdings</vt:lpstr>
      <vt:lpstr>20160408_クライアント資料用／配布資料テンプレート／ヨコ</vt:lpstr>
      <vt:lpstr>テーマ2</vt:lpstr>
      <vt:lpstr>think-cell Slide</vt:lpstr>
      <vt:lpstr>PowerPoint プレゼンテーション</vt:lpstr>
      <vt:lpstr>PowerPoint プレゼンテーション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8-03T02:05:29Z</dcterms:created>
  <dcterms:modified xsi:type="dcterms:W3CDTF">2019-03-01T01:52:02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F6F7E4EBADD9E47A9E0A7126DCCDCF8</vt:lpwstr>
  </property>
</Properties>
</file>